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diagrams/drawing2.xml" ContentType="application/vnd.ms-office.drawingml.diagramDrawing+xml"/>
  <Override PartName="/ppt/notesSlides/notesSlide2.xml" ContentType="application/vnd.openxmlformats-officedocument.presentationml.notesSlide+xml"/>
  <Override PartName="/ppt/slides/slide4.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diagrams/quickStyle2.xml" ContentType="application/vnd.openxmlformats-officedocument.drawingml.diagramStyl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diagrams/layout9.xml" ContentType="application/vnd.openxmlformats-officedocument.drawingml.diagramLayout+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ppt/tags/tag45.xml" ContentType="application/vnd.openxmlformats-officedocument.presentationml.tags+xml"/>
  <Override PartName="/ppt/tags/tag63.xml" ContentType="application/vnd.openxmlformats-officedocument.presentationml.tags+xml"/>
  <Override PartName="/ppt/diagrams/layout5.xml" ContentType="application/vnd.openxmlformats-officedocument.drawingml.diagramLayout+xml"/>
  <Override PartName="/ppt/diagrams/data6.xml" ContentType="application/vnd.openxmlformats-officedocument.drawingml.diagramData+xml"/>
  <Override PartName="/ppt/tags/tag34.xml" ContentType="application/vnd.openxmlformats-officedocument.presentationml.tags+xml"/>
  <Override PartName="/ppt/tags/tag52.xml" ContentType="application/vnd.openxmlformats-officedocument.presentationml.tags+xml"/>
  <Override PartName="/ppt/diagrams/colors8.xml" ContentType="application/vnd.openxmlformats-officedocument.drawingml.diagramColor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diagrams/drawing7.xml" ContentType="application/vnd.ms-office.drawingml.diagramDrawing+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diagrams/colors4.xml" ContentType="application/vnd.openxmlformats-officedocument.drawingml.diagramColors+xml"/>
  <Override PartName="/ppt/diagrams/quickStyle7.xml" ContentType="application/vnd.openxmlformats-officedocument.drawingml.diagramStyle+xml"/>
  <Override PartName="/ppt/slides/slide5.xml" ContentType="application/vnd.openxmlformats-officedocument.presentationml.slide+xml"/>
  <Default Extension="bin" ContentType="application/vnd.openxmlformats-officedocument.oleObject"/>
  <Default Extension="png" ContentType="image/png"/>
  <Override PartName="/ppt/slideLayouts/slideLayout7.xml" ContentType="application/vnd.openxmlformats-officedocument.presentationml.slideLayout+xml"/>
  <Override PartName="/ppt/diagrams/drawing3.xml" ContentType="application/vnd.ms-office.drawingml.diagramDrawing+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diagrams/quickStyle3.xml" ContentType="application/vnd.openxmlformats-officedocument.drawingml.diagramStyle+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tags/tag3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57.xml" ContentType="application/vnd.openxmlformats-officedocument.presentationml.tags+xml"/>
  <Override PartName="/ppt/diagrams/layout6.xml" ContentType="application/vnd.openxmlformats-officedocument.drawingml.diagramLayout+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tags/tag46.xml" ContentType="application/vnd.openxmlformats-officedocument.presentationml.tags+xml"/>
  <Override PartName="/ppt/tags/tag64.xml" ContentType="application/vnd.openxmlformats-officedocument.presentationml.tags+xml"/>
  <Override PartName="/ppt/diagrams/data7.xml" ContentType="application/vnd.openxmlformats-officedocument.drawingml.diagramData+xml"/>
  <Override PartName="/ppt/diagrams/colors9.xml" ContentType="application/vnd.openxmlformats-officedocument.drawingml.diagramColors+xml"/>
  <Default Extension="vml" ContentType="application/vnd.openxmlformats-officedocument.vmlDrawing"/>
  <Override PartName="/ppt/tags/tag24.xml" ContentType="application/vnd.openxmlformats-officedocument.presentationml.tags+xml"/>
  <Default Extension="gif" ContentType="image/gif"/>
  <Override PartName="/ppt/slideLayouts/slideLayout10.xml" ContentType="application/vnd.openxmlformats-officedocument.presentationml.slideLayout+xml"/>
  <Override PartName="/ppt/tags/tag53.xml" ContentType="application/vnd.openxmlformats-officedocument.presentationml.tags+xml"/>
  <Override PartName="/ppt/tags/tag71.xml" ContentType="application/vnd.openxmlformats-officedocument.presentationml.tags+xml"/>
  <Override PartName="/ppt/diagrams/layout2.xml" ContentType="application/vnd.openxmlformats-officedocument.drawingml.diagramLayout+xml"/>
  <Override PartName="/ppt/diagrams/drawing8.xml" ContentType="application/vnd.ms-office.drawingml.diagramDrawing+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diagrams/quickStyle8.xml" ContentType="application/vnd.openxmlformats-officedocument.drawingml.diagramStyle+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theme/theme7.xml" ContentType="application/vnd.openxmlformats-officedocument.theme+xml"/>
  <Override PartName="/ppt/diagrams/data1.xml" ContentType="application/vnd.openxmlformats-officedocument.drawingml.diagramData+xml"/>
  <Override PartName="/ppt/diagrams/colors3.xml" ContentType="application/vnd.openxmlformats-officedocument.drawingml.diagramColors+xml"/>
  <Override PartName="/ppt/diagrams/drawing4.xml" ContentType="application/vnd.ms-office.drawingml.diagramDrawing+xml"/>
  <Override PartName="/ppt/diagrams/quickStyle6.xml" ContentType="application/vnd.openxmlformats-officedocument.drawingml.diagramStyle+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slideLayouts/slideLayout22.xml" ContentType="application/vnd.openxmlformats-officedocument.presentationml.slideLayout+xml"/>
  <Override PartName="/ppt/tags/tag47.xml" ContentType="application/vnd.openxmlformats-officedocument.presentationml.tags+xml"/>
  <Override PartName="/ppt/diagrams/layout7.xml" ContentType="application/vnd.openxmlformats-officedocument.drawingml.diagramLayout+xml"/>
  <Override PartName="/ppt/diagrams/data8.xml" ContentType="application/vnd.openxmlformats-officedocument.drawingml.diagramData+xml"/>
  <Override PartName="/ppt/tags/tag18.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diagrams/drawing9.xml" ContentType="application/vnd.ms-office.drawingml.diagramDrawing+xml"/>
  <Override PartName="/ppt/tags/tag32.xml" ContentType="application/vnd.openxmlformats-officedocument.presentationml.tags+xml"/>
  <Override PartName="/ppt/tags/tag50.xml" ContentType="application/vnd.openxmlformats-officedocument.presentationml.tags+xml"/>
  <Override PartName="/ppt/diagrams/colors6.xml" ContentType="application/vnd.openxmlformats-officedocument.drawingml.diagramColors+xml"/>
  <Override PartName="/ppt/diagrams/quickStyle9.xml" ContentType="application/vnd.openxmlformats-officedocument.drawingml.diagramStyle+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slideLayouts/slideLayout9.xml" ContentType="application/vnd.openxmlformats-officedocument.presentationml.slideLayout+xml"/>
  <Override PartName="/ppt/diagrams/drawing5.xml" ContentType="application/vnd.ms-office.drawingml.diagramDrawing+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diagrams/drawing1.xml" ContentType="application/vnd.ms-office.drawingml.diagramDrawing+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59.xml" ContentType="application/vnd.openxmlformats-officedocument.presentationml.tags+xml"/>
  <Override PartName="/ppt/diagrams/quickStyle1.xml" ContentType="application/vnd.openxmlformats-officedocument.drawingml.diagramStyle+xml"/>
  <Override PartName="/ppt/diagrams/layout8.xml" ContentType="application/vnd.openxmlformats-officedocument.drawingml.diagramLayout+xml"/>
  <Override PartName="/ppt/slideLayouts/slideLayout1.xml" ContentType="application/vnd.openxmlformats-officedocument.presentationml.slideLayout+xml"/>
  <Override PartName="/ppt/tags/tag19.xml" ContentType="application/vnd.openxmlformats-officedocument.presentationml.tags+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diagrams/data9.xml" ContentType="application/vnd.openxmlformats-officedocument.drawingml.diagramData+xml"/>
  <Override PartName="/ppt/tags/tag2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diagrams/layout4.xml" ContentType="application/vnd.openxmlformats-officedocument.drawingml.diagramLayout+xml"/>
  <Override PartName="/ppt/tags/tag15.xml" ContentType="application/vnd.openxmlformats-officedocument.presentationml.tags+xml"/>
  <Default Extension="tiff" ContentType="image/tiff"/>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diagrams/data5.xml" ContentType="application/vnd.openxmlformats-officedocument.drawingml.diagramData+xml"/>
  <Override PartName="/ppt/diagrams/colors7.xml" ContentType="application/vnd.openxmlformats-officedocument.drawingml.diagramColor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diagrams/drawing6.xml" ContentType="application/vnd.ms-office.drawingml.diagramDrawing+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2" r:id="rId4"/>
    <p:sldMasterId id="2147483997" r:id="rId5"/>
  </p:sldMasterIdLst>
  <p:notesMasterIdLst>
    <p:notesMasterId r:id="rId17"/>
  </p:notesMasterIdLst>
  <p:handoutMasterIdLst>
    <p:handoutMasterId r:id="rId18"/>
  </p:handoutMasterIdLst>
  <p:sldIdLst>
    <p:sldId id="311" r:id="rId6"/>
    <p:sldId id="378" r:id="rId7"/>
    <p:sldId id="384" r:id="rId8"/>
    <p:sldId id="380" r:id="rId9"/>
    <p:sldId id="381" r:id="rId10"/>
    <p:sldId id="385" r:id="rId11"/>
    <p:sldId id="386" r:id="rId12"/>
    <p:sldId id="387" r:id="rId13"/>
    <p:sldId id="388" r:id="rId14"/>
    <p:sldId id="389" r:id="rId15"/>
    <p:sldId id="329" r:id="rId16"/>
  </p:sldIdLst>
  <p:sldSz cx="10972800" cy="6858000"/>
  <p:notesSz cx="6797675" cy="9874250"/>
  <p:custDataLst>
    <p:tags r:id="rId19"/>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AF1C63"/>
    <a:srgbClr val="005B7C"/>
    <a:srgbClr val="000000"/>
    <a:srgbClr val="A2BFAF"/>
    <a:srgbClr val="ACB7B2"/>
    <a:srgbClr val="6A9529"/>
    <a:srgbClr val="00A0D6"/>
    <a:srgbClr val="0085B3"/>
    <a:srgbClr val="909090"/>
    <a:srgbClr val="FFC72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33" autoAdjust="0"/>
    <p:restoredTop sz="97691" autoAdjust="0"/>
  </p:normalViewPr>
  <p:slideViewPr>
    <p:cSldViewPr snapToGrid="0">
      <p:cViewPr>
        <p:scale>
          <a:sx n="60" d="100"/>
          <a:sy n="60" d="100"/>
        </p:scale>
        <p:origin x="-1060" y="-240"/>
      </p:cViewPr>
      <p:guideLst>
        <p:guide orient="horz"/>
        <p:guide orient="horz" pos="952"/>
        <p:guide orient="horz" pos="3954"/>
        <p:guide orient="horz" pos="2447"/>
        <p:guide orient="horz" pos="2514"/>
        <p:guide orient="horz" pos="2391"/>
        <p:guide orient="horz" pos="504"/>
        <p:guide pos="3458"/>
        <p:guide pos="222"/>
        <p:guide pos="3555"/>
        <p:guide pos="3361"/>
        <p:guide pos="66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0" d="100"/>
          <a:sy n="50" d="100"/>
        </p:scale>
        <p:origin x="-2688" y="-84"/>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EB9B1A1-0D31-4E2E-AB20-BBC60539E84C}"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921E94B1-24D6-4F32-8695-475DB47DBFE0}">
      <dgm:prSet/>
      <dgm:spPr/>
      <dgm:t>
        <a:bodyPr/>
        <a:lstStyle/>
        <a:p>
          <a:pPr rtl="0"/>
          <a:r>
            <a:rPr lang="en-US" dirty="0" smtClean="0"/>
            <a:t>Availability</a:t>
          </a:r>
          <a:endParaRPr lang="en-US" dirty="0"/>
        </a:p>
      </dgm:t>
    </dgm:pt>
    <dgm:pt modelId="{98AB07B5-7A9C-4515-BCEC-30687D8E0D34}" type="parTrans" cxnId="{ADCFDC32-B3EC-470C-9FBE-CAF675ACD06E}">
      <dgm:prSet/>
      <dgm:spPr/>
      <dgm:t>
        <a:bodyPr/>
        <a:lstStyle/>
        <a:p>
          <a:endParaRPr lang="en-US"/>
        </a:p>
      </dgm:t>
    </dgm:pt>
    <dgm:pt modelId="{74A961DE-E8E4-44A7-BBE9-D6C77CCE100A}" type="sibTrans" cxnId="{ADCFDC32-B3EC-470C-9FBE-CAF675ACD06E}">
      <dgm:prSet/>
      <dgm:spPr/>
      <dgm:t>
        <a:bodyPr/>
        <a:lstStyle/>
        <a:p>
          <a:endParaRPr lang="en-US"/>
        </a:p>
      </dgm:t>
    </dgm:pt>
    <dgm:pt modelId="{59DFD1AC-B55B-435C-81C6-CB158673C313}">
      <dgm:prSet/>
      <dgm:spPr/>
      <dgm:t>
        <a:bodyPr/>
        <a:lstStyle/>
        <a:p>
          <a:r>
            <a:rPr lang="en-US" dirty="0" smtClean="0"/>
            <a:t>Data Management</a:t>
          </a:r>
          <a:endParaRPr lang="en-US" dirty="0"/>
        </a:p>
      </dgm:t>
    </dgm:pt>
    <dgm:pt modelId="{089FCC58-B398-4F53-A5F8-B65933724CB0}" type="parTrans" cxnId="{FF31B088-5D91-4E7A-A411-31FC85AD23C6}">
      <dgm:prSet/>
      <dgm:spPr/>
      <dgm:t>
        <a:bodyPr/>
        <a:lstStyle/>
        <a:p>
          <a:endParaRPr lang="en-US"/>
        </a:p>
      </dgm:t>
    </dgm:pt>
    <dgm:pt modelId="{8A84534C-771B-413D-BEE2-6BD156CC5344}" type="sibTrans" cxnId="{FF31B088-5D91-4E7A-A411-31FC85AD23C6}">
      <dgm:prSet/>
      <dgm:spPr/>
      <dgm:t>
        <a:bodyPr/>
        <a:lstStyle/>
        <a:p>
          <a:endParaRPr lang="en-US"/>
        </a:p>
      </dgm:t>
    </dgm:pt>
    <dgm:pt modelId="{E81A095E-30CF-402C-8331-BC693AF4205D}">
      <dgm:prSet/>
      <dgm:spPr/>
      <dgm:t>
        <a:bodyPr/>
        <a:lstStyle/>
        <a:p>
          <a:r>
            <a:rPr lang="en-US" dirty="0" smtClean="0"/>
            <a:t>Design and Implementation</a:t>
          </a:r>
          <a:endParaRPr lang="en-US" dirty="0"/>
        </a:p>
      </dgm:t>
    </dgm:pt>
    <dgm:pt modelId="{4786696F-2B9B-416B-8E04-D6D8BAA94438}" type="parTrans" cxnId="{B961AF1E-216C-4BB6-9EE5-7371E4FC1C1D}">
      <dgm:prSet/>
      <dgm:spPr/>
      <dgm:t>
        <a:bodyPr/>
        <a:lstStyle/>
        <a:p>
          <a:endParaRPr lang="en-US"/>
        </a:p>
      </dgm:t>
    </dgm:pt>
    <dgm:pt modelId="{6CCB7512-7B2D-4407-A223-5D1FD0E01C1B}" type="sibTrans" cxnId="{B961AF1E-216C-4BB6-9EE5-7371E4FC1C1D}">
      <dgm:prSet/>
      <dgm:spPr/>
      <dgm:t>
        <a:bodyPr/>
        <a:lstStyle/>
        <a:p>
          <a:endParaRPr lang="en-US"/>
        </a:p>
      </dgm:t>
    </dgm:pt>
    <dgm:pt modelId="{DAD1C729-3835-4292-B8AF-C734A9589CDA}">
      <dgm:prSet/>
      <dgm:spPr/>
      <dgm:t>
        <a:bodyPr/>
        <a:lstStyle/>
        <a:p>
          <a:r>
            <a:rPr lang="en-US" dirty="0" smtClean="0"/>
            <a:t>Messaging</a:t>
          </a:r>
        </a:p>
      </dgm:t>
    </dgm:pt>
    <dgm:pt modelId="{EF3CED3E-04D3-46C9-85D4-132182F90696}" type="parTrans" cxnId="{0B2752E5-F341-4A18-8A59-C15C3D1729CB}">
      <dgm:prSet/>
      <dgm:spPr/>
      <dgm:t>
        <a:bodyPr/>
        <a:lstStyle/>
        <a:p>
          <a:endParaRPr lang="en-US"/>
        </a:p>
      </dgm:t>
    </dgm:pt>
    <dgm:pt modelId="{69A9897C-4D55-452C-944B-789BFE17C8B5}" type="sibTrans" cxnId="{0B2752E5-F341-4A18-8A59-C15C3D1729CB}">
      <dgm:prSet/>
      <dgm:spPr/>
      <dgm:t>
        <a:bodyPr/>
        <a:lstStyle/>
        <a:p>
          <a:endParaRPr lang="en-US"/>
        </a:p>
      </dgm:t>
    </dgm:pt>
    <dgm:pt modelId="{72CBC948-13AD-4A9B-B0BB-214E626CE7CA}">
      <dgm:prSet/>
      <dgm:spPr/>
      <dgm:t>
        <a:bodyPr/>
        <a:lstStyle/>
        <a:p>
          <a:r>
            <a:rPr lang="en-US" dirty="0" smtClean="0"/>
            <a:t>Data management is the key element of cloud applications, and influences most of the quality attributes. Data is typically hosted in different locations and across multiple servers for reasons such as performance, scalability or availability, and this can present a range of challenges. For example, data consistency must be maintained, and data will typically need to be synchronized across different locations</a:t>
          </a:r>
          <a:endParaRPr lang="en-US" dirty="0"/>
        </a:p>
      </dgm:t>
    </dgm:pt>
    <dgm:pt modelId="{C711E341-BD34-4496-B915-1F637885CB5E}" type="parTrans" cxnId="{D8BCEECA-AC1E-424C-BCA9-965198787EF6}">
      <dgm:prSet/>
      <dgm:spPr/>
      <dgm:t>
        <a:bodyPr/>
        <a:lstStyle/>
        <a:p>
          <a:endParaRPr lang="en-US"/>
        </a:p>
      </dgm:t>
    </dgm:pt>
    <dgm:pt modelId="{1BBEDC4C-A41C-4524-BE02-70660E1BE469}" type="sibTrans" cxnId="{D8BCEECA-AC1E-424C-BCA9-965198787EF6}">
      <dgm:prSet/>
      <dgm:spPr/>
      <dgm:t>
        <a:bodyPr/>
        <a:lstStyle/>
        <a:p>
          <a:endParaRPr lang="en-US"/>
        </a:p>
      </dgm:t>
    </dgm:pt>
    <dgm:pt modelId="{D9162FA9-B278-470E-BB1E-DB5D4077F40F}">
      <dgm:prSet/>
      <dgm:spPr/>
      <dgm:t>
        <a:bodyPr/>
        <a:lstStyle/>
        <a:p>
          <a:r>
            <a:rPr lang="en-US" dirty="0" smtClean="0"/>
            <a:t>Good design encompasses factors such as consistency and coherence in component design and deployment, maintainability to simplify administration and development, and reusability to allow components and subsystems to be used in other applications and in other scenarios. Decisions made during the design and implementation phase have a huge impact on the quality and the total cost of ownership of cloud hosted applications and services.</a:t>
          </a:r>
          <a:endParaRPr lang="en-US" dirty="0"/>
        </a:p>
      </dgm:t>
    </dgm:pt>
    <dgm:pt modelId="{0D8D35AF-789E-4525-96B6-51DB55142098}" type="parTrans" cxnId="{6F766BB1-42CF-4749-A2D6-9FEA3ABDAB9B}">
      <dgm:prSet/>
      <dgm:spPr/>
      <dgm:t>
        <a:bodyPr/>
        <a:lstStyle/>
        <a:p>
          <a:endParaRPr lang="en-US"/>
        </a:p>
      </dgm:t>
    </dgm:pt>
    <dgm:pt modelId="{77ED8538-D0C1-4A58-9CBD-E34BAE302DF3}" type="sibTrans" cxnId="{6F766BB1-42CF-4749-A2D6-9FEA3ABDAB9B}">
      <dgm:prSet/>
      <dgm:spPr/>
      <dgm:t>
        <a:bodyPr/>
        <a:lstStyle/>
        <a:p>
          <a:endParaRPr lang="en-US"/>
        </a:p>
      </dgm:t>
    </dgm:pt>
    <dgm:pt modelId="{2FE5DF42-1ED1-4710-89C2-427C64A13144}">
      <dgm:prSet/>
      <dgm:spPr/>
      <dgm:t>
        <a:bodyPr/>
        <a:lstStyle/>
        <a:p>
          <a:r>
            <a:rPr lang="en-US" dirty="0" smtClean="0"/>
            <a:t>The distributed nature of cloud applications requires a messaging infrastructure that connects the  components and services, ideally in a loosely coupled manner in order to maximize scalability. Asynchronous messaging is widely used, and provides many benefits, but also brings challenges such as the ordering of messages, poison message management, </a:t>
          </a:r>
          <a:r>
            <a:rPr lang="en-US" dirty="0" err="1" smtClean="0"/>
            <a:t>idempotency</a:t>
          </a:r>
          <a:r>
            <a:rPr lang="en-US" dirty="0" smtClean="0"/>
            <a:t>, and more.</a:t>
          </a:r>
          <a:endParaRPr lang="en-US" dirty="0"/>
        </a:p>
      </dgm:t>
    </dgm:pt>
    <dgm:pt modelId="{912DB2FD-972A-4916-9703-E1289578FEAA}" type="parTrans" cxnId="{824741AA-8C0E-438C-B7B6-A3D2F3106144}">
      <dgm:prSet/>
      <dgm:spPr/>
      <dgm:t>
        <a:bodyPr/>
        <a:lstStyle/>
        <a:p>
          <a:endParaRPr lang="en-US"/>
        </a:p>
      </dgm:t>
    </dgm:pt>
    <dgm:pt modelId="{1A85EBA5-F5A2-4D84-8E05-2B1BECB661FC}" type="sibTrans" cxnId="{824741AA-8C0E-438C-B7B6-A3D2F3106144}">
      <dgm:prSet/>
      <dgm:spPr/>
      <dgm:t>
        <a:bodyPr/>
        <a:lstStyle/>
        <a:p>
          <a:endParaRPr lang="en-US"/>
        </a:p>
      </dgm:t>
    </dgm:pt>
    <dgm:pt modelId="{C91998ED-BB0C-4781-9440-9EE0778DE2D4}">
      <dgm:prSet/>
      <dgm:spPr/>
      <dgm:t>
        <a:bodyPr/>
        <a:lstStyle/>
        <a:p>
          <a:r>
            <a:rPr lang="en-US" dirty="0" smtClean="0"/>
            <a:t>Availability defines the proportion of time that the system is functional and working. It will be affected by system errors, infrastructure problems, malicious attacks, and system load. It is usually measured as a percentage of uptime. Cloud applications typically provide users with a service level agreement (SLA),which means that applications must be designed and implemented in a way that maximizes availability</a:t>
          </a:r>
          <a:endParaRPr lang="en-US" dirty="0"/>
        </a:p>
      </dgm:t>
    </dgm:pt>
    <dgm:pt modelId="{843F7AB5-D3E7-4AE0-9C1E-01CC18C51A99}" type="sibTrans" cxnId="{D95F247E-3A76-4E25-BEEE-3E6552DD0142}">
      <dgm:prSet/>
      <dgm:spPr/>
      <dgm:t>
        <a:bodyPr/>
        <a:lstStyle/>
        <a:p>
          <a:endParaRPr lang="en-US"/>
        </a:p>
      </dgm:t>
    </dgm:pt>
    <dgm:pt modelId="{D0189AF6-71A6-44F8-91BC-425109888FF3}" type="parTrans" cxnId="{D95F247E-3A76-4E25-BEEE-3E6552DD0142}">
      <dgm:prSet/>
      <dgm:spPr/>
      <dgm:t>
        <a:bodyPr/>
        <a:lstStyle/>
        <a:p>
          <a:endParaRPr lang="en-US"/>
        </a:p>
      </dgm:t>
    </dgm:pt>
    <dgm:pt modelId="{1A732179-FEC1-46C9-88BC-59AA79561F75}" type="pres">
      <dgm:prSet presAssocID="{8EB9B1A1-0D31-4E2E-AB20-BBC60539E84C}" presName="Name0" presStyleCnt="0">
        <dgm:presLayoutVars>
          <dgm:dir/>
          <dgm:animLvl val="lvl"/>
          <dgm:resizeHandles val="exact"/>
        </dgm:presLayoutVars>
      </dgm:prSet>
      <dgm:spPr/>
      <dgm:t>
        <a:bodyPr/>
        <a:lstStyle/>
        <a:p>
          <a:endParaRPr lang="en-US"/>
        </a:p>
      </dgm:t>
    </dgm:pt>
    <dgm:pt modelId="{11E47C30-94C9-4571-80F0-7E63202B73DC}" type="pres">
      <dgm:prSet presAssocID="{921E94B1-24D6-4F32-8695-475DB47DBFE0}" presName="composite" presStyleCnt="0"/>
      <dgm:spPr/>
    </dgm:pt>
    <dgm:pt modelId="{F76537A7-2463-4BF4-97F7-478B91943436}" type="pres">
      <dgm:prSet presAssocID="{921E94B1-24D6-4F32-8695-475DB47DBFE0}" presName="parTx" presStyleLbl="alignNode1" presStyleIdx="0" presStyleCnt="4">
        <dgm:presLayoutVars>
          <dgm:chMax val="0"/>
          <dgm:chPref val="0"/>
          <dgm:bulletEnabled val="1"/>
        </dgm:presLayoutVars>
      </dgm:prSet>
      <dgm:spPr/>
      <dgm:t>
        <a:bodyPr/>
        <a:lstStyle/>
        <a:p>
          <a:endParaRPr lang="en-US"/>
        </a:p>
      </dgm:t>
    </dgm:pt>
    <dgm:pt modelId="{67829A35-E0CE-465E-A74A-13BD4EBC4464}" type="pres">
      <dgm:prSet presAssocID="{921E94B1-24D6-4F32-8695-475DB47DBFE0}" presName="desTx" presStyleLbl="alignAccFollowNode1" presStyleIdx="0" presStyleCnt="4">
        <dgm:presLayoutVars>
          <dgm:bulletEnabled val="1"/>
        </dgm:presLayoutVars>
      </dgm:prSet>
      <dgm:spPr/>
      <dgm:t>
        <a:bodyPr/>
        <a:lstStyle/>
        <a:p>
          <a:endParaRPr lang="en-US"/>
        </a:p>
      </dgm:t>
    </dgm:pt>
    <dgm:pt modelId="{5BB3E138-0D1D-4761-93EA-4E73794DF3D7}" type="pres">
      <dgm:prSet presAssocID="{74A961DE-E8E4-44A7-BBE9-D6C77CCE100A}" presName="space" presStyleCnt="0"/>
      <dgm:spPr/>
    </dgm:pt>
    <dgm:pt modelId="{3BEED831-75E6-4041-B3B8-5792409F6535}" type="pres">
      <dgm:prSet presAssocID="{59DFD1AC-B55B-435C-81C6-CB158673C313}" presName="composite" presStyleCnt="0"/>
      <dgm:spPr/>
    </dgm:pt>
    <dgm:pt modelId="{61123AFF-2009-46CB-883C-248CAC99A6D0}" type="pres">
      <dgm:prSet presAssocID="{59DFD1AC-B55B-435C-81C6-CB158673C313}" presName="parTx" presStyleLbl="alignNode1" presStyleIdx="1" presStyleCnt="4">
        <dgm:presLayoutVars>
          <dgm:chMax val="0"/>
          <dgm:chPref val="0"/>
          <dgm:bulletEnabled val="1"/>
        </dgm:presLayoutVars>
      </dgm:prSet>
      <dgm:spPr/>
      <dgm:t>
        <a:bodyPr/>
        <a:lstStyle/>
        <a:p>
          <a:endParaRPr lang="en-US"/>
        </a:p>
      </dgm:t>
    </dgm:pt>
    <dgm:pt modelId="{89CE2D2C-ACC3-4453-B3DE-755E67B5213D}" type="pres">
      <dgm:prSet presAssocID="{59DFD1AC-B55B-435C-81C6-CB158673C313}" presName="desTx" presStyleLbl="alignAccFollowNode1" presStyleIdx="1" presStyleCnt="4">
        <dgm:presLayoutVars>
          <dgm:bulletEnabled val="1"/>
        </dgm:presLayoutVars>
      </dgm:prSet>
      <dgm:spPr/>
      <dgm:t>
        <a:bodyPr/>
        <a:lstStyle/>
        <a:p>
          <a:endParaRPr lang="en-US"/>
        </a:p>
      </dgm:t>
    </dgm:pt>
    <dgm:pt modelId="{9376C61D-12E0-4C7F-A849-7F4AE598D892}" type="pres">
      <dgm:prSet presAssocID="{8A84534C-771B-413D-BEE2-6BD156CC5344}" presName="space" presStyleCnt="0"/>
      <dgm:spPr/>
    </dgm:pt>
    <dgm:pt modelId="{0A886203-5377-4E18-BB20-F7384CD5C60A}" type="pres">
      <dgm:prSet presAssocID="{E81A095E-30CF-402C-8331-BC693AF4205D}" presName="composite" presStyleCnt="0"/>
      <dgm:spPr/>
    </dgm:pt>
    <dgm:pt modelId="{AA1B5951-DF8D-4DFA-9EE0-FF9A07A65C0F}" type="pres">
      <dgm:prSet presAssocID="{E81A095E-30CF-402C-8331-BC693AF4205D}" presName="parTx" presStyleLbl="alignNode1" presStyleIdx="2" presStyleCnt="4">
        <dgm:presLayoutVars>
          <dgm:chMax val="0"/>
          <dgm:chPref val="0"/>
          <dgm:bulletEnabled val="1"/>
        </dgm:presLayoutVars>
      </dgm:prSet>
      <dgm:spPr/>
      <dgm:t>
        <a:bodyPr/>
        <a:lstStyle/>
        <a:p>
          <a:endParaRPr lang="en-US"/>
        </a:p>
      </dgm:t>
    </dgm:pt>
    <dgm:pt modelId="{7171BA44-7E21-4068-AAC1-7AFAC9E4A743}" type="pres">
      <dgm:prSet presAssocID="{E81A095E-30CF-402C-8331-BC693AF4205D}" presName="desTx" presStyleLbl="alignAccFollowNode1" presStyleIdx="2" presStyleCnt="4">
        <dgm:presLayoutVars>
          <dgm:bulletEnabled val="1"/>
        </dgm:presLayoutVars>
      </dgm:prSet>
      <dgm:spPr/>
      <dgm:t>
        <a:bodyPr/>
        <a:lstStyle/>
        <a:p>
          <a:endParaRPr lang="en-US"/>
        </a:p>
      </dgm:t>
    </dgm:pt>
    <dgm:pt modelId="{1C7C2251-CFDD-4947-90A3-61FA0A6A3423}" type="pres">
      <dgm:prSet presAssocID="{6CCB7512-7B2D-4407-A223-5D1FD0E01C1B}" presName="space" presStyleCnt="0"/>
      <dgm:spPr/>
    </dgm:pt>
    <dgm:pt modelId="{7339A20E-0546-4F60-A73F-C50E7082AC4F}" type="pres">
      <dgm:prSet presAssocID="{DAD1C729-3835-4292-B8AF-C734A9589CDA}" presName="composite" presStyleCnt="0"/>
      <dgm:spPr/>
    </dgm:pt>
    <dgm:pt modelId="{6227C228-BF70-4B50-A3E4-60400D498DBE}" type="pres">
      <dgm:prSet presAssocID="{DAD1C729-3835-4292-B8AF-C734A9589CDA}" presName="parTx" presStyleLbl="alignNode1" presStyleIdx="3" presStyleCnt="4">
        <dgm:presLayoutVars>
          <dgm:chMax val="0"/>
          <dgm:chPref val="0"/>
          <dgm:bulletEnabled val="1"/>
        </dgm:presLayoutVars>
      </dgm:prSet>
      <dgm:spPr/>
      <dgm:t>
        <a:bodyPr/>
        <a:lstStyle/>
        <a:p>
          <a:endParaRPr lang="en-US"/>
        </a:p>
      </dgm:t>
    </dgm:pt>
    <dgm:pt modelId="{D2D4FD8E-5F7C-4367-89EF-175497175438}" type="pres">
      <dgm:prSet presAssocID="{DAD1C729-3835-4292-B8AF-C734A9589CDA}" presName="desTx" presStyleLbl="alignAccFollowNode1" presStyleIdx="3" presStyleCnt="4">
        <dgm:presLayoutVars>
          <dgm:bulletEnabled val="1"/>
        </dgm:presLayoutVars>
      </dgm:prSet>
      <dgm:spPr/>
      <dgm:t>
        <a:bodyPr/>
        <a:lstStyle/>
        <a:p>
          <a:endParaRPr lang="en-US"/>
        </a:p>
      </dgm:t>
    </dgm:pt>
  </dgm:ptLst>
  <dgm:cxnLst>
    <dgm:cxn modelId="{0B2752E5-F341-4A18-8A59-C15C3D1729CB}" srcId="{8EB9B1A1-0D31-4E2E-AB20-BBC60539E84C}" destId="{DAD1C729-3835-4292-B8AF-C734A9589CDA}" srcOrd="3" destOrd="0" parTransId="{EF3CED3E-04D3-46C9-85D4-132182F90696}" sibTransId="{69A9897C-4D55-452C-944B-789BFE17C8B5}"/>
    <dgm:cxn modelId="{55C26C8E-4BF0-474D-9271-390800C29CA7}" type="presOf" srcId="{2FE5DF42-1ED1-4710-89C2-427C64A13144}" destId="{D2D4FD8E-5F7C-4367-89EF-175497175438}" srcOrd="0" destOrd="0" presId="urn:microsoft.com/office/officeart/2005/8/layout/hList1"/>
    <dgm:cxn modelId="{B961AF1E-216C-4BB6-9EE5-7371E4FC1C1D}" srcId="{8EB9B1A1-0D31-4E2E-AB20-BBC60539E84C}" destId="{E81A095E-30CF-402C-8331-BC693AF4205D}" srcOrd="2" destOrd="0" parTransId="{4786696F-2B9B-416B-8E04-D6D8BAA94438}" sibTransId="{6CCB7512-7B2D-4407-A223-5D1FD0E01C1B}"/>
    <dgm:cxn modelId="{CF4CCFBB-494A-4088-A94A-A7DE9C16022B}" type="presOf" srcId="{72CBC948-13AD-4A9B-B0BB-214E626CE7CA}" destId="{89CE2D2C-ACC3-4453-B3DE-755E67B5213D}" srcOrd="0" destOrd="0" presId="urn:microsoft.com/office/officeart/2005/8/layout/hList1"/>
    <dgm:cxn modelId="{D95F247E-3A76-4E25-BEEE-3E6552DD0142}" srcId="{921E94B1-24D6-4F32-8695-475DB47DBFE0}" destId="{C91998ED-BB0C-4781-9440-9EE0778DE2D4}" srcOrd="0" destOrd="0" parTransId="{D0189AF6-71A6-44F8-91BC-425109888FF3}" sibTransId="{843F7AB5-D3E7-4AE0-9C1E-01CC18C51A99}"/>
    <dgm:cxn modelId="{F1C6453B-8820-4185-8B57-CC29B2FAA61D}" type="presOf" srcId="{E81A095E-30CF-402C-8331-BC693AF4205D}" destId="{AA1B5951-DF8D-4DFA-9EE0-FF9A07A65C0F}" srcOrd="0" destOrd="0" presId="urn:microsoft.com/office/officeart/2005/8/layout/hList1"/>
    <dgm:cxn modelId="{FF31B088-5D91-4E7A-A411-31FC85AD23C6}" srcId="{8EB9B1A1-0D31-4E2E-AB20-BBC60539E84C}" destId="{59DFD1AC-B55B-435C-81C6-CB158673C313}" srcOrd="1" destOrd="0" parTransId="{089FCC58-B398-4F53-A5F8-B65933724CB0}" sibTransId="{8A84534C-771B-413D-BEE2-6BD156CC5344}"/>
    <dgm:cxn modelId="{ADCFDC32-B3EC-470C-9FBE-CAF675ACD06E}" srcId="{8EB9B1A1-0D31-4E2E-AB20-BBC60539E84C}" destId="{921E94B1-24D6-4F32-8695-475DB47DBFE0}" srcOrd="0" destOrd="0" parTransId="{98AB07B5-7A9C-4515-BCEC-30687D8E0D34}" sibTransId="{74A961DE-E8E4-44A7-BBE9-D6C77CCE100A}"/>
    <dgm:cxn modelId="{29E28337-5504-485E-A530-E129C8DA3417}" type="presOf" srcId="{8EB9B1A1-0D31-4E2E-AB20-BBC60539E84C}" destId="{1A732179-FEC1-46C9-88BC-59AA79561F75}" srcOrd="0" destOrd="0" presId="urn:microsoft.com/office/officeart/2005/8/layout/hList1"/>
    <dgm:cxn modelId="{4D76E855-F9F0-44EE-A484-D4CCC1A4A040}" type="presOf" srcId="{DAD1C729-3835-4292-B8AF-C734A9589CDA}" destId="{6227C228-BF70-4B50-A3E4-60400D498DBE}" srcOrd="0" destOrd="0" presId="urn:microsoft.com/office/officeart/2005/8/layout/hList1"/>
    <dgm:cxn modelId="{6F766BB1-42CF-4749-A2D6-9FEA3ABDAB9B}" srcId="{E81A095E-30CF-402C-8331-BC693AF4205D}" destId="{D9162FA9-B278-470E-BB1E-DB5D4077F40F}" srcOrd="0" destOrd="0" parTransId="{0D8D35AF-789E-4525-96B6-51DB55142098}" sibTransId="{77ED8538-D0C1-4A58-9CBD-E34BAE302DF3}"/>
    <dgm:cxn modelId="{1CDF6C18-24EF-4F90-9DEF-2F9EC731BABE}" type="presOf" srcId="{921E94B1-24D6-4F32-8695-475DB47DBFE0}" destId="{F76537A7-2463-4BF4-97F7-478B91943436}" srcOrd="0" destOrd="0" presId="urn:microsoft.com/office/officeart/2005/8/layout/hList1"/>
    <dgm:cxn modelId="{D8BCEECA-AC1E-424C-BCA9-965198787EF6}" srcId="{59DFD1AC-B55B-435C-81C6-CB158673C313}" destId="{72CBC948-13AD-4A9B-B0BB-214E626CE7CA}" srcOrd="0" destOrd="0" parTransId="{C711E341-BD34-4496-B915-1F637885CB5E}" sibTransId="{1BBEDC4C-A41C-4524-BE02-70660E1BE469}"/>
    <dgm:cxn modelId="{A3F99BFB-214C-49A8-8616-A03FBAC889A1}" type="presOf" srcId="{D9162FA9-B278-470E-BB1E-DB5D4077F40F}" destId="{7171BA44-7E21-4068-AAC1-7AFAC9E4A743}" srcOrd="0" destOrd="0" presId="urn:microsoft.com/office/officeart/2005/8/layout/hList1"/>
    <dgm:cxn modelId="{08005716-79AF-4B08-9E18-DCD6CBD777C0}" type="presOf" srcId="{C91998ED-BB0C-4781-9440-9EE0778DE2D4}" destId="{67829A35-E0CE-465E-A74A-13BD4EBC4464}" srcOrd="0" destOrd="0" presId="urn:microsoft.com/office/officeart/2005/8/layout/hList1"/>
    <dgm:cxn modelId="{824741AA-8C0E-438C-B7B6-A3D2F3106144}" srcId="{DAD1C729-3835-4292-B8AF-C734A9589CDA}" destId="{2FE5DF42-1ED1-4710-89C2-427C64A13144}" srcOrd="0" destOrd="0" parTransId="{912DB2FD-972A-4916-9703-E1289578FEAA}" sibTransId="{1A85EBA5-F5A2-4D84-8E05-2B1BECB661FC}"/>
    <dgm:cxn modelId="{B79E63CE-F5EE-4ADC-A214-1B4EA1EFC5E9}" type="presOf" srcId="{59DFD1AC-B55B-435C-81C6-CB158673C313}" destId="{61123AFF-2009-46CB-883C-248CAC99A6D0}" srcOrd="0" destOrd="0" presId="urn:microsoft.com/office/officeart/2005/8/layout/hList1"/>
    <dgm:cxn modelId="{A9A8AE94-24FA-4542-8DF0-A4248586BA60}" type="presParOf" srcId="{1A732179-FEC1-46C9-88BC-59AA79561F75}" destId="{11E47C30-94C9-4571-80F0-7E63202B73DC}" srcOrd="0" destOrd="0" presId="urn:microsoft.com/office/officeart/2005/8/layout/hList1"/>
    <dgm:cxn modelId="{998E8417-0204-4680-81DB-31113EFA32F8}" type="presParOf" srcId="{11E47C30-94C9-4571-80F0-7E63202B73DC}" destId="{F76537A7-2463-4BF4-97F7-478B91943436}" srcOrd="0" destOrd="0" presId="urn:microsoft.com/office/officeart/2005/8/layout/hList1"/>
    <dgm:cxn modelId="{918B7F43-C9C3-42B8-9B84-3876D669F092}" type="presParOf" srcId="{11E47C30-94C9-4571-80F0-7E63202B73DC}" destId="{67829A35-E0CE-465E-A74A-13BD4EBC4464}" srcOrd="1" destOrd="0" presId="urn:microsoft.com/office/officeart/2005/8/layout/hList1"/>
    <dgm:cxn modelId="{EFF18F9E-29E6-4A49-A6B4-8D41F98CFD01}" type="presParOf" srcId="{1A732179-FEC1-46C9-88BC-59AA79561F75}" destId="{5BB3E138-0D1D-4761-93EA-4E73794DF3D7}" srcOrd="1" destOrd="0" presId="urn:microsoft.com/office/officeart/2005/8/layout/hList1"/>
    <dgm:cxn modelId="{2E513955-AE64-4D29-B8BB-7F98D56D6448}" type="presParOf" srcId="{1A732179-FEC1-46C9-88BC-59AA79561F75}" destId="{3BEED831-75E6-4041-B3B8-5792409F6535}" srcOrd="2" destOrd="0" presId="urn:microsoft.com/office/officeart/2005/8/layout/hList1"/>
    <dgm:cxn modelId="{28DC53AE-FD4D-4207-AE14-B26CC364701B}" type="presParOf" srcId="{3BEED831-75E6-4041-B3B8-5792409F6535}" destId="{61123AFF-2009-46CB-883C-248CAC99A6D0}" srcOrd="0" destOrd="0" presId="urn:microsoft.com/office/officeart/2005/8/layout/hList1"/>
    <dgm:cxn modelId="{E226BFD5-5F49-4748-8C8D-2FF62AC145F5}" type="presParOf" srcId="{3BEED831-75E6-4041-B3B8-5792409F6535}" destId="{89CE2D2C-ACC3-4453-B3DE-755E67B5213D}" srcOrd="1" destOrd="0" presId="urn:microsoft.com/office/officeart/2005/8/layout/hList1"/>
    <dgm:cxn modelId="{22A3C991-49EA-4018-BE9B-388A6E199FD9}" type="presParOf" srcId="{1A732179-FEC1-46C9-88BC-59AA79561F75}" destId="{9376C61D-12E0-4C7F-A849-7F4AE598D892}" srcOrd="3" destOrd="0" presId="urn:microsoft.com/office/officeart/2005/8/layout/hList1"/>
    <dgm:cxn modelId="{109B2569-DB48-4B15-A145-CBEA851FF4AA}" type="presParOf" srcId="{1A732179-FEC1-46C9-88BC-59AA79561F75}" destId="{0A886203-5377-4E18-BB20-F7384CD5C60A}" srcOrd="4" destOrd="0" presId="urn:microsoft.com/office/officeart/2005/8/layout/hList1"/>
    <dgm:cxn modelId="{462028F2-4D36-44D9-8140-85B18E2CEE21}" type="presParOf" srcId="{0A886203-5377-4E18-BB20-F7384CD5C60A}" destId="{AA1B5951-DF8D-4DFA-9EE0-FF9A07A65C0F}" srcOrd="0" destOrd="0" presId="urn:microsoft.com/office/officeart/2005/8/layout/hList1"/>
    <dgm:cxn modelId="{5115C1FF-1FB0-45EA-9683-DA2B25E1E466}" type="presParOf" srcId="{0A886203-5377-4E18-BB20-F7384CD5C60A}" destId="{7171BA44-7E21-4068-AAC1-7AFAC9E4A743}" srcOrd="1" destOrd="0" presId="urn:microsoft.com/office/officeart/2005/8/layout/hList1"/>
    <dgm:cxn modelId="{AC520C5D-3969-4BAC-874A-52FB8D9BADE0}" type="presParOf" srcId="{1A732179-FEC1-46C9-88BC-59AA79561F75}" destId="{1C7C2251-CFDD-4947-90A3-61FA0A6A3423}" srcOrd="5" destOrd="0" presId="urn:microsoft.com/office/officeart/2005/8/layout/hList1"/>
    <dgm:cxn modelId="{0C69D0ED-D039-471E-8D0E-EB96C55B0BC0}" type="presParOf" srcId="{1A732179-FEC1-46C9-88BC-59AA79561F75}" destId="{7339A20E-0546-4F60-A73F-C50E7082AC4F}" srcOrd="6" destOrd="0" presId="urn:microsoft.com/office/officeart/2005/8/layout/hList1"/>
    <dgm:cxn modelId="{B0BADF31-02A5-4A2D-B7CB-CF8EE0421283}" type="presParOf" srcId="{7339A20E-0546-4F60-A73F-C50E7082AC4F}" destId="{6227C228-BF70-4B50-A3E4-60400D498DBE}" srcOrd="0" destOrd="0" presId="urn:microsoft.com/office/officeart/2005/8/layout/hList1"/>
    <dgm:cxn modelId="{55BEA866-7B48-4D3F-9B56-AC3E63F9C4F0}" type="presParOf" srcId="{7339A20E-0546-4F60-A73F-C50E7082AC4F}" destId="{D2D4FD8E-5F7C-4367-89EF-175497175438}" srcOrd="1" destOrd="0" presId="urn:microsoft.com/office/officeart/2005/8/layout/h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EB9B1A1-0D31-4E2E-AB20-BBC60539E84C}"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921E94B1-24D6-4F32-8695-475DB47DBFE0}">
      <dgm:prSet/>
      <dgm:spPr/>
      <dgm:t>
        <a:bodyPr/>
        <a:lstStyle/>
        <a:p>
          <a:pPr rtl="0"/>
          <a:r>
            <a:rPr lang="en-US" dirty="0" smtClean="0"/>
            <a:t>Management</a:t>
          </a:r>
        </a:p>
        <a:p>
          <a:r>
            <a:rPr lang="en-US" dirty="0" smtClean="0"/>
            <a:t>and Monitoring</a:t>
          </a:r>
          <a:endParaRPr lang="en-US" dirty="0"/>
        </a:p>
      </dgm:t>
    </dgm:pt>
    <dgm:pt modelId="{98AB07B5-7A9C-4515-BCEC-30687D8E0D34}" type="parTrans" cxnId="{ADCFDC32-B3EC-470C-9FBE-CAF675ACD06E}">
      <dgm:prSet/>
      <dgm:spPr/>
      <dgm:t>
        <a:bodyPr/>
        <a:lstStyle/>
        <a:p>
          <a:endParaRPr lang="en-US"/>
        </a:p>
      </dgm:t>
    </dgm:pt>
    <dgm:pt modelId="{74A961DE-E8E4-44A7-BBE9-D6C77CCE100A}" type="sibTrans" cxnId="{ADCFDC32-B3EC-470C-9FBE-CAF675ACD06E}">
      <dgm:prSet/>
      <dgm:spPr/>
      <dgm:t>
        <a:bodyPr/>
        <a:lstStyle/>
        <a:p>
          <a:endParaRPr lang="en-US"/>
        </a:p>
      </dgm:t>
    </dgm:pt>
    <dgm:pt modelId="{59DFD1AC-B55B-435C-81C6-CB158673C313}">
      <dgm:prSet/>
      <dgm:spPr/>
      <dgm:t>
        <a:bodyPr/>
        <a:lstStyle/>
        <a:p>
          <a:r>
            <a:rPr lang="en-US" dirty="0" smtClean="0"/>
            <a:t>Performance and Scalability</a:t>
          </a:r>
          <a:endParaRPr lang="en-US" dirty="0"/>
        </a:p>
      </dgm:t>
    </dgm:pt>
    <dgm:pt modelId="{089FCC58-B398-4F53-A5F8-B65933724CB0}" type="parTrans" cxnId="{FF31B088-5D91-4E7A-A411-31FC85AD23C6}">
      <dgm:prSet/>
      <dgm:spPr/>
      <dgm:t>
        <a:bodyPr/>
        <a:lstStyle/>
        <a:p>
          <a:endParaRPr lang="en-US"/>
        </a:p>
      </dgm:t>
    </dgm:pt>
    <dgm:pt modelId="{8A84534C-771B-413D-BEE2-6BD156CC5344}" type="sibTrans" cxnId="{FF31B088-5D91-4E7A-A411-31FC85AD23C6}">
      <dgm:prSet/>
      <dgm:spPr/>
      <dgm:t>
        <a:bodyPr/>
        <a:lstStyle/>
        <a:p>
          <a:endParaRPr lang="en-US"/>
        </a:p>
      </dgm:t>
    </dgm:pt>
    <dgm:pt modelId="{72CBC948-13AD-4A9B-B0BB-214E626CE7CA}">
      <dgm:prSet/>
      <dgm:spPr/>
      <dgm:t>
        <a:bodyPr/>
        <a:lstStyle/>
        <a:p>
          <a:r>
            <a:rPr lang="en-US" dirty="0" smtClean="0"/>
            <a:t>Performance is an indication of the responsiveness of a system to execute any action within a given time interval, while scalability is ability of a system either to handle increases in load without impact on performance or for the available resources to be readily increased. Cloud applications typically encounter variable workloads and peaks in activity. Predicting these, especially in a multi-tenant scenario, is almost impossible. Instead, applications should be able to scale out within limits to meet peaks in demand, and scale in when demand decreases. Scalability concerns not just compute instances, but other elements such as data storage, messaging infrastructure, and more.</a:t>
          </a:r>
          <a:endParaRPr lang="en-US" dirty="0"/>
        </a:p>
      </dgm:t>
    </dgm:pt>
    <dgm:pt modelId="{C711E341-BD34-4496-B915-1F637885CB5E}" type="parTrans" cxnId="{D8BCEECA-AC1E-424C-BCA9-965198787EF6}">
      <dgm:prSet/>
      <dgm:spPr/>
      <dgm:t>
        <a:bodyPr/>
        <a:lstStyle/>
        <a:p>
          <a:endParaRPr lang="en-US"/>
        </a:p>
      </dgm:t>
    </dgm:pt>
    <dgm:pt modelId="{1BBEDC4C-A41C-4524-BE02-70660E1BE469}" type="sibTrans" cxnId="{D8BCEECA-AC1E-424C-BCA9-965198787EF6}">
      <dgm:prSet/>
      <dgm:spPr/>
      <dgm:t>
        <a:bodyPr/>
        <a:lstStyle/>
        <a:p>
          <a:endParaRPr lang="en-US"/>
        </a:p>
      </dgm:t>
    </dgm:pt>
    <dgm:pt modelId="{E2A8F1DA-46E5-4F86-AB53-72E9CF9C6749}">
      <dgm:prSet/>
      <dgm:spPr/>
      <dgm:t>
        <a:bodyPr/>
        <a:lstStyle/>
        <a:p>
          <a:r>
            <a:rPr lang="en-US" dirty="0" smtClean="0"/>
            <a:t>Cloud applications </a:t>
          </a:r>
          <a:r>
            <a:rPr lang="en-US" smtClean="0"/>
            <a:t>run </a:t>
          </a:r>
          <a:r>
            <a:rPr lang="en-US" smtClean="0"/>
            <a:t>in </a:t>
          </a:r>
          <a:r>
            <a:rPr lang="en-US" dirty="0" smtClean="0"/>
            <a:t>a remote datacenter where you do not have full control of the infrastructure or, in some cases, the operating system. This can make management and monitoring more difficult than an on premises deployment. Applications must expose runtime information that administrators and operators can use to manage and monitor the system, as well as supporting changing business requirements and customization without requiring the application to be stopped or redeployed </a:t>
          </a:r>
          <a:endParaRPr lang="en-US" dirty="0"/>
        </a:p>
      </dgm:t>
    </dgm:pt>
    <dgm:pt modelId="{6839B3FD-509B-42F4-96F7-205B88BEB4E9}" type="parTrans" cxnId="{F9C7F1BE-C029-47F6-804B-DC6EF442D392}">
      <dgm:prSet/>
      <dgm:spPr/>
      <dgm:t>
        <a:bodyPr/>
        <a:lstStyle/>
        <a:p>
          <a:endParaRPr lang="en-US"/>
        </a:p>
      </dgm:t>
    </dgm:pt>
    <dgm:pt modelId="{036D3873-710F-411C-A87E-D9C67390C692}" type="sibTrans" cxnId="{F9C7F1BE-C029-47F6-804B-DC6EF442D392}">
      <dgm:prSet/>
      <dgm:spPr/>
      <dgm:t>
        <a:bodyPr/>
        <a:lstStyle/>
        <a:p>
          <a:endParaRPr lang="en-US"/>
        </a:p>
      </dgm:t>
    </dgm:pt>
    <dgm:pt modelId="{D2A50ED0-D694-443B-AFB5-0D93E0FC269A}">
      <dgm:prSet/>
      <dgm:spPr/>
      <dgm:t>
        <a:bodyPr/>
        <a:lstStyle/>
        <a:p>
          <a:r>
            <a:rPr lang="en-US" dirty="0" smtClean="0"/>
            <a:t>Resiliency</a:t>
          </a:r>
          <a:endParaRPr lang="en-US" dirty="0"/>
        </a:p>
      </dgm:t>
    </dgm:pt>
    <dgm:pt modelId="{F68FCD3F-4B51-4769-B088-84470BF3F2B4}" type="parTrans" cxnId="{A4608CFE-784F-4ACA-8253-4F44E4C46331}">
      <dgm:prSet/>
      <dgm:spPr/>
      <dgm:t>
        <a:bodyPr/>
        <a:lstStyle/>
        <a:p>
          <a:endParaRPr lang="en-US"/>
        </a:p>
      </dgm:t>
    </dgm:pt>
    <dgm:pt modelId="{ED94FA4B-2C78-47A0-BEFD-ADF7F55A22B3}" type="sibTrans" cxnId="{A4608CFE-784F-4ACA-8253-4F44E4C46331}">
      <dgm:prSet/>
      <dgm:spPr/>
      <dgm:t>
        <a:bodyPr/>
        <a:lstStyle/>
        <a:p>
          <a:endParaRPr lang="en-US"/>
        </a:p>
      </dgm:t>
    </dgm:pt>
    <dgm:pt modelId="{39D35D28-DF95-4CEF-A6C0-17C33FC30AF5}">
      <dgm:prSet/>
      <dgm:spPr/>
      <dgm:t>
        <a:bodyPr/>
        <a:lstStyle/>
        <a:p>
          <a:r>
            <a:rPr lang="en-US" dirty="0" smtClean="0"/>
            <a:t>Resiliency is the ability of a system to gracefully handle and recover from failures. The nature of cloud hosting, where applications are often multi-tenant, use shared platform services, compete for resources and bandwidth, communicate over the Internet, and run on commodity hardware means there is an increased likelihood that both transient and more permanent faults will arise. Detecting failures, and recovering quickly and efficiently, is necessary to maintain resiliency</a:t>
          </a:r>
          <a:endParaRPr lang="en-US" dirty="0"/>
        </a:p>
      </dgm:t>
    </dgm:pt>
    <dgm:pt modelId="{21AC21F5-2BED-4096-A1A1-7C36C3A064BA}" type="parTrans" cxnId="{92E07CEB-FAB7-4C36-8CC3-3320FBFC8F43}">
      <dgm:prSet/>
      <dgm:spPr/>
      <dgm:t>
        <a:bodyPr/>
        <a:lstStyle/>
        <a:p>
          <a:endParaRPr lang="en-US"/>
        </a:p>
      </dgm:t>
    </dgm:pt>
    <dgm:pt modelId="{8B75211E-EE84-47F3-8449-69D1212FF03C}" type="sibTrans" cxnId="{92E07CEB-FAB7-4C36-8CC3-3320FBFC8F43}">
      <dgm:prSet/>
      <dgm:spPr/>
      <dgm:t>
        <a:bodyPr/>
        <a:lstStyle/>
        <a:p>
          <a:endParaRPr lang="en-US"/>
        </a:p>
      </dgm:t>
    </dgm:pt>
    <dgm:pt modelId="{6DE1D46B-B6B4-4A96-9348-5573106F3F8D}">
      <dgm:prSet/>
      <dgm:spPr/>
      <dgm:t>
        <a:bodyPr/>
        <a:lstStyle/>
        <a:p>
          <a:r>
            <a:rPr lang="en-US" dirty="0" smtClean="0"/>
            <a:t>Security</a:t>
          </a:r>
        </a:p>
      </dgm:t>
    </dgm:pt>
    <dgm:pt modelId="{A2BA9197-78F6-4F4C-81D7-D03C0C90A179}" type="parTrans" cxnId="{AF63E889-CAAD-497B-A5FF-C369589AF168}">
      <dgm:prSet/>
      <dgm:spPr/>
      <dgm:t>
        <a:bodyPr/>
        <a:lstStyle/>
        <a:p>
          <a:endParaRPr lang="en-US"/>
        </a:p>
      </dgm:t>
    </dgm:pt>
    <dgm:pt modelId="{81CAFD87-BF3A-48FD-BD91-FCD0C87ED6DA}" type="sibTrans" cxnId="{AF63E889-CAAD-497B-A5FF-C369589AF168}">
      <dgm:prSet/>
      <dgm:spPr/>
      <dgm:t>
        <a:bodyPr/>
        <a:lstStyle/>
        <a:p>
          <a:endParaRPr lang="en-US"/>
        </a:p>
      </dgm:t>
    </dgm:pt>
    <dgm:pt modelId="{0B3D0EFE-C068-4378-BFAF-681F15B91FDF}">
      <dgm:prSet/>
      <dgm:spPr/>
      <dgm:t>
        <a:bodyPr/>
        <a:lstStyle/>
        <a:p>
          <a:r>
            <a:rPr lang="en-US" dirty="0" smtClean="0"/>
            <a:t>Security is the capability of a system to prevent malicious or accidental actions outside of the designed usage, and to prevent disclosure or loss of information. Cloud applications are exposed on the Internet outside trusted on-premises boundaries, are often open to the public, and may serve </a:t>
          </a:r>
          <a:r>
            <a:rPr lang="en-US" dirty="0" err="1" smtClean="0"/>
            <a:t>untrusted</a:t>
          </a:r>
          <a:r>
            <a:rPr lang="en-US" dirty="0" smtClean="0"/>
            <a:t> users. Applications must be designed and deployed in a way that protects them from malicious attacks, restricts access to only approved users, and protects sensitive data.</a:t>
          </a:r>
          <a:endParaRPr lang="en-US" dirty="0"/>
        </a:p>
      </dgm:t>
    </dgm:pt>
    <dgm:pt modelId="{BF7FB2DD-185E-4F11-BE69-80CF3AD026D7}" type="parTrans" cxnId="{BC8DB607-B416-4E42-AB32-C57B32254FF9}">
      <dgm:prSet/>
      <dgm:spPr/>
      <dgm:t>
        <a:bodyPr/>
        <a:lstStyle/>
        <a:p>
          <a:endParaRPr lang="en-US"/>
        </a:p>
      </dgm:t>
    </dgm:pt>
    <dgm:pt modelId="{065D2CC1-E4A0-4987-B337-1E3FFEC27382}" type="sibTrans" cxnId="{BC8DB607-B416-4E42-AB32-C57B32254FF9}">
      <dgm:prSet/>
      <dgm:spPr/>
      <dgm:t>
        <a:bodyPr/>
        <a:lstStyle/>
        <a:p>
          <a:endParaRPr lang="en-US"/>
        </a:p>
      </dgm:t>
    </dgm:pt>
    <dgm:pt modelId="{1A732179-FEC1-46C9-88BC-59AA79561F75}" type="pres">
      <dgm:prSet presAssocID="{8EB9B1A1-0D31-4E2E-AB20-BBC60539E84C}" presName="Name0" presStyleCnt="0">
        <dgm:presLayoutVars>
          <dgm:dir/>
          <dgm:animLvl val="lvl"/>
          <dgm:resizeHandles val="exact"/>
        </dgm:presLayoutVars>
      </dgm:prSet>
      <dgm:spPr/>
      <dgm:t>
        <a:bodyPr/>
        <a:lstStyle/>
        <a:p>
          <a:endParaRPr lang="en-US"/>
        </a:p>
      </dgm:t>
    </dgm:pt>
    <dgm:pt modelId="{11E47C30-94C9-4571-80F0-7E63202B73DC}" type="pres">
      <dgm:prSet presAssocID="{921E94B1-24D6-4F32-8695-475DB47DBFE0}" presName="composite" presStyleCnt="0"/>
      <dgm:spPr/>
    </dgm:pt>
    <dgm:pt modelId="{F76537A7-2463-4BF4-97F7-478B91943436}" type="pres">
      <dgm:prSet presAssocID="{921E94B1-24D6-4F32-8695-475DB47DBFE0}" presName="parTx" presStyleLbl="alignNode1" presStyleIdx="0" presStyleCnt="4">
        <dgm:presLayoutVars>
          <dgm:chMax val="0"/>
          <dgm:chPref val="0"/>
          <dgm:bulletEnabled val="1"/>
        </dgm:presLayoutVars>
      </dgm:prSet>
      <dgm:spPr/>
      <dgm:t>
        <a:bodyPr/>
        <a:lstStyle/>
        <a:p>
          <a:endParaRPr lang="en-US"/>
        </a:p>
      </dgm:t>
    </dgm:pt>
    <dgm:pt modelId="{67829A35-E0CE-465E-A74A-13BD4EBC4464}" type="pres">
      <dgm:prSet presAssocID="{921E94B1-24D6-4F32-8695-475DB47DBFE0}" presName="desTx" presStyleLbl="alignAccFollowNode1" presStyleIdx="0" presStyleCnt="4">
        <dgm:presLayoutVars>
          <dgm:bulletEnabled val="1"/>
        </dgm:presLayoutVars>
      </dgm:prSet>
      <dgm:spPr/>
      <dgm:t>
        <a:bodyPr/>
        <a:lstStyle/>
        <a:p>
          <a:endParaRPr lang="en-US"/>
        </a:p>
      </dgm:t>
    </dgm:pt>
    <dgm:pt modelId="{5BB3E138-0D1D-4761-93EA-4E73794DF3D7}" type="pres">
      <dgm:prSet presAssocID="{74A961DE-E8E4-44A7-BBE9-D6C77CCE100A}" presName="space" presStyleCnt="0"/>
      <dgm:spPr/>
    </dgm:pt>
    <dgm:pt modelId="{3BEED831-75E6-4041-B3B8-5792409F6535}" type="pres">
      <dgm:prSet presAssocID="{59DFD1AC-B55B-435C-81C6-CB158673C313}" presName="composite" presStyleCnt="0"/>
      <dgm:spPr/>
    </dgm:pt>
    <dgm:pt modelId="{61123AFF-2009-46CB-883C-248CAC99A6D0}" type="pres">
      <dgm:prSet presAssocID="{59DFD1AC-B55B-435C-81C6-CB158673C313}" presName="parTx" presStyleLbl="alignNode1" presStyleIdx="1" presStyleCnt="4">
        <dgm:presLayoutVars>
          <dgm:chMax val="0"/>
          <dgm:chPref val="0"/>
          <dgm:bulletEnabled val="1"/>
        </dgm:presLayoutVars>
      </dgm:prSet>
      <dgm:spPr/>
      <dgm:t>
        <a:bodyPr/>
        <a:lstStyle/>
        <a:p>
          <a:endParaRPr lang="en-US"/>
        </a:p>
      </dgm:t>
    </dgm:pt>
    <dgm:pt modelId="{89CE2D2C-ACC3-4453-B3DE-755E67B5213D}" type="pres">
      <dgm:prSet presAssocID="{59DFD1AC-B55B-435C-81C6-CB158673C313}" presName="desTx" presStyleLbl="alignAccFollowNode1" presStyleIdx="1" presStyleCnt="4">
        <dgm:presLayoutVars>
          <dgm:bulletEnabled val="1"/>
        </dgm:presLayoutVars>
      </dgm:prSet>
      <dgm:spPr/>
      <dgm:t>
        <a:bodyPr/>
        <a:lstStyle/>
        <a:p>
          <a:endParaRPr lang="en-US"/>
        </a:p>
      </dgm:t>
    </dgm:pt>
    <dgm:pt modelId="{9376C61D-12E0-4C7F-A849-7F4AE598D892}" type="pres">
      <dgm:prSet presAssocID="{8A84534C-771B-413D-BEE2-6BD156CC5344}" presName="space" presStyleCnt="0"/>
      <dgm:spPr/>
    </dgm:pt>
    <dgm:pt modelId="{B20A7D4B-5EAE-4ECF-BDBE-1397E0AC3EFB}" type="pres">
      <dgm:prSet presAssocID="{D2A50ED0-D694-443B-AFB5-0D93E0FC269A}" presName="composite" presStyleCnt="0"/>
      <dgm:spPr/>
    </dgm:pt>
    <dgm:pt modelId="{8C6E62AF-1212-44F7-AEB8-BA03343ADB37}" type="pres">
      <dgm:prSet presAssocID="{D2A50ED0-D694-443B-AFB5-0D93E0FC269A}" presName="parTx" presStyleLbl="alignNode1" presStyleIdx="2" presStyleCnt="4">
        <dgm:presLayoutVars>
          <dgm:chMax val="0"/>
          <dgm:chPref val="0"/>
          <dgm:bulletEnabled val="1"/>
        </dgm:presLayoutVars>
      </dgm:prSet>
      <dgm:spPr/>
      <dgm:t>
        <a:bodyPr/>
        <a:lstStyle/>
        <a:p>
          <a:endParaRPr lang="en-US"/>
        </a:p>
      </dgm:t>
    </dgm:pt>
    <dgm:pt modelId="{81E05E7C-6CF7-465E-8446-02A5C1CCDB6B}" type="pres">
      <dgm:prSet presAssocID="{D2A50ED0-D694-443B-AFB5-0D93E0FC269A}" presName="desTx" presStyleLbl="alignAccFollowNode1" presStyleIdx="2" presStyleCnt="4">
        <dgm:presLayoutVars>
          <dgm:bulletEnabled val="1"/>
        </dgm:presLayoutVars>
      </dgm:prSet>
      <dgm:spPr/>
      <dgm:t>
        <a:bodyPr/>
        <a:lstStyle/>
        <a:p>
          <a:endParaRPr lang="en-US"/>
        </a:p>
      </dgm:t>
    </dgm:pt>
    <dgm:pt modelId="{B56C3A43-595D-4CA5-9B86-048B1B6C4AA9}" type="pres">
      <dgm:prSet presAssocID="{ED94FA4B-2C78-47A0-BEFD-ADF7F55A22B3}" presName="space" presStyleCnt="0"/>
      <dgm:spPr/>
    </dgm:pt>
    <dgm:pt modelId="{89A17506-42E2-435C-A321-DA30426CC256}" type="pres">
      <dgm:prSet presAssocID="{6DE1D46B-B6B4-4A96-9348-5573106F3F8D}" presName="composite" presStyleCnt="0"/>
      <dgm:spPr/>
    </dgm:pt>
    <dgm:pt modelId="{046F32BE-3540-47E7-B68D-54BC9261276C}" type="pres">
      <dgm:prSet presAssocID="{6DE1D46B-B6B4-4A96-9348-5573106F3F8D}" presName="parTx" presStyleLbl="alignNode1" presStyleIdx="3" presStyleCnt="4">
        <dgm:presLayoutVars>
          <dgm:chMax val="0"/>
          <dgm:chPref val="0"/>
          <dgm:bulletEnabled val="1"/>
        </dgm:presLayoutVars>
      </dgm:prSet>
      <dgm:spPr/>
      <dgm:t>
        <a:bodyPr/>
        <a:lstStyle/>
        <a:p>
          <a:endParaRPr lang="en-US"/>
        </a:p>
      </dgm:t>
    </dgm:pt>
    <dgm:pt modelId="{5431B694-1801-4D32-94A2-290A4E4BF94B}" type="pres">
      <dgm:prSet presAssocID="{6DE1D46B-B6B4-4A96-9348-5573106F3F8D}" presName="desTx" presStyleLbl="alignAccFollowNode1" presStyleIdx="3" presStyleCnt="4">
        <dgm:presLayoutVars>
          <dgm:bulletEnabled val="1"/>
        </dgm:presLayoutVars>
      </dgm:prSet>
      <dgm:spPr/>
      <dgm:t>
        <a:bodyPr/>
        <a:lstStyle/>
        <a:p>
          <a:endParaRPr lang="en-US"/>
        </a:p>
      </dgm:t>
    </dgm:pt>
  </dgm:ptLst>
  <dgm:cxnLst>
    <dgm:cxn modelId="{0C012F8E-B061-4084-8ADA-236EAD9B1373}" type="presOf" srcId="{D2A50ED0-D694-443B-AFB5-0D93E0FC269A}" destId="{8C6E62AF-1212-44F7-AEB8-BA03343ADB37}" srcOrd="0" destOrd="0" presId="urn:microsoft.com/office/officeart/2005/8/layout/hList1"/>
    <dgm:cxn modelId="{CB6778E1-C412-427C-A935-403391ACE06B}" type="presOf" srcId="{E2A8F1DA-46E5-4F86-AB53-72E9CF9C6749}" destId="{67829A35-E0CE-465E-A74A-13BD4EBC4464}" srcOrd="0" destOrd="0" presId="urn:microsoft.com/office/officeart/2005/8/layout/hList1"/>
    <dgm:cxn modelId="{9D283848-3E72-482E-B64E-A394E9647017}" type="presOf" srcId="{6DE1D46B-B6B4-4A96-9348-5573106F3F8D}" destId="{046F32BE-3540-47E7-B68D-54BC9261276C}" srcOrd="0" destOrd="0" presId="urn:microsoft.com/office/officeart/2005/8/layout/hList1"/>
    <dgm:cxn modelId="{FF31B088-5D91-4E7A-A411-31FC85AD23C6}" srcId="{8EB9B1A1-0D31-4E2E-AB20-BBC60539E84C}" destId="{59DFD1AC-B55B-435C-81C6-CB158673C313}" srcOrd="1" destOrd="0" parTransId="{089FCC58-B398-4F53-A5F8-B65933724CB0}" sibTransId="{8A84534C-771B-413D-BEE2-6BD156CC5344}"/>
    <dgm:cxn modelId="{ADCFDC32-B3EC-470C-9FBE-CAF675ACD06E}" srcId="{8EB9B1A1-0D31-4E2E-AB20-BBC60539E84C}" destId="{921E94B1-24D6-4F32-8695-475DB47DBFE0}" srcOrd="0" destOrd="0" parTransId="{98AB07B5-7A9C-4515-BCEC-30687D8E0D34}" sibTransId="{74A961DE-E8E4-44A7-BBE9-D6C77CCE100A}"/>
    <dgm:cxn modelId="{92E07CEB-FAB7-4C36-8CC3-3320FBFC8F43}" srcId="{D2A50ED0-D694-443B-AFB5-0D93E0FC269A}" destId="{39D35D28-DF95-4CEF-A6C0-17C33FC30AF5}" srcOrd="0" destOrd="0" parTransId="{21AC21F5-2BED-4096-A1A1-7C36C3A064BA}" sibTransId="{8B75211E-EE84-47F3-8449-69D1212FF03C}"/>
    <dgm:cxn modelId="{B230469B-C5DD-494C-8869-AC49B20CDD5F}" type="presOf" srcId="{0B3D0EFE-C068-4378-BFAF-681F15B91FDF}" destId="{5431B694-1801-4D32-94A2-290A4E4BF94B}" srcOrd="0" destOrd="0" presId="urn:microsoft.com/office/officeart/2005/8/layout/hList1"/>
    <dgm:cxn modelId="{1BF65EA2-9399-4795-A934-6D31C89D1223}" type="presOf" srcId="{921E94B1-24D6-4F32-8695-475DB47DBFE0}" destId="{F76537A7-2463-4BF4-97F7-478B91943436}" srcOrd="0" destOrd="0" presId="urn:microsoft.com/office/officeart/2005/8/layout/hList1"/>
    <dgm:cxn modelId="{ECDB43C9-1E2E-4910-B55E-8BC0DC426B11}" type="presOf" srcId="{39D35D28-DF95-4CEF-A6C0-17C33FC30AF5}" destId="{81E05E7C-6CF7-465E-8446-02A5C1CCDB6B}" srcOrd="0" destOrd="0" presId="urn:microsoft.com/office/officeart/2005/8/layout/hList1"/>
    <dgm:cxn modelId="{A4608CFE-784F-4ACA-8253-4F44E4C46331}" srcId="{8EB9B1A1-0D31-4E2E-AB20-BBC60539E84C}" destId="{D2A50ED0-D694-443B-AFB5-0D93E0FC269A}" srcOrd="2" destOrd="0" parTransId="{F68FCD3F-4B51-4769-B088-84470BF3F2B4}" sibTransId="{ED94FA4B-2C78-47A0-BEFD-ADF7F55A22B3}"/>
    <dgm:cxn modelId="{D2C01C3D-52D8-4291-8D27-1D7AC0F1AB22}" type="presOf" srcId="{59DFD1AC-B55B-435C-81C6-CB158673C313}" destId="{61123AFF-2009-46CB-883C-248CAC99A6D0}" srcOrd="0" destOrd="0" presId="urn:microsoft.com/office/officeart/2005/8/layout/hList1"/>
    <dgm:cxn modelId="{DBD6B8B3-2796-414B-994D-94AB681AEA11}" type="presOf" srcId="{72CBC948-13AD-4A9B-B0BB-214E626CE7CA}" destId="{89CE2D2C-ACC3-4453-B3DE-755E67B5213D}" srcOrd="0" destOrd="0" presId="urn:microsoft.com/office/officeart/2005/8/layout/hList1"/>
    <dgm:cxn modelId="{AF63E889-CAAD-497B-A5FF-C369589AF168}" srcId="{8EB9B1A1-0D31-4E2E-AB20-BBC60539E84C}" destId="{6DE1D46B-B6B4-4A96-9348-5573106F3F8D}" srcOrd="3" destOrd="0" parTransId="{A2BA9197-78F6-4F4C-81D7-D03C0C90A179}" sibTransId="{81CAFD87-BF3A-48FD-BD91-FCD0C87ED6DA}"/>
    <dgm:cxn modelId="{D8BCEECA-AC1E-424C-BCA9-965198787EF6}" srcId="{59DFD1AC-B55B-435C-81C6-CB158673C313}" destId="{72CBC948-13AD-4A9B-B0BB-214E626CE7CA}" srcOrd="0" destOrd="0" parTransId="{C711E341-BD34-4496-B915-1F637885CB5E}" sibTransId="{1BBEDC4C-A41C-4524-BE02-70660E1BE469}"/>
    <dgm:cxn modelId="{BC8DB607-B416-4E42-AB32-C57B32254FF9}" srcId="{6DE1D46B-B6B4-4A96-9348-5573106F3F8D}" destId="{0B3D0EFE-C068-4378-BFAF-681F15B91FDF}" srcOrd="0" destOrd="0" parTransId="{BF7FB2DD-185E-4F11-BE69-80CF3AD026D7}" sibTransId="{065D2CC1-E4A0-4987-B337-1E3FFEC27382}"/>
    <dgm:cxn modelId="{6B1009F4-1BB4-47C6-AB9B-6BEF59DB5665}" type="presOf" srcId="{8EB9B1A1-0D31-4E2E-AB20-BBC60539E84C}" destId="{1A732179-FEC1-46C9-88BC-59AA79561F75}" srcOrd="0" destOrd="0" presId="urn:microsoft.com/office/officeart/2005/8/layout/hList1"/>
    <dgm:cxn modelId="{F9C7F1BE-C029-47F6-804B-DC6EF442D392}" srcId="{921E94B1-24D6-4F32-8695-475DB47DBFE0}" destId="{E2A8F1DA-46E5-4F86-AB53-72E9CF9C6749}" srcOrd="0" destOrd="0" parTransId="{6839B3FD-509B-42F4-96F7-205B88BEB4E9}" sibTransId="{036D3873-710F-411C-A87E-D9C67390C692}"/>
    <dgm:cxn modelId="{CF1B1B13-D7FF-40FB-8A29-A0EC814C6D4D}" type="presParOf" srcId="{1A732179-FEC1-46C9-88BC-59AA79561F75}" destId="{11E47C30-94C9-4571-80F0-7E63202B73DC}" srcOrd="0" destOrd="0" presId="urn:microsoft.com/office/officeart/2005/8/layout/hList1"/>
    <dgm:cxn modelId="{B23117D1-FDB8-4BDE-9A38-305773214A10}" type="presParOf" srcId="{11E47C30-94C9-4571-80F0-7E63202B73DC}" destId="{F76537A7-2463-4BF4-97F7-478B91943436}" srcOrd="0" destOrd="0" presId="urn:microsoft.com/office/officeart/2005/8/layout/hList1"/>
    <dgm:cxn modelId="{F466CB50-F1CE-4C69-8F68-211A23C92BEA}" type="presParOf" srcId="{11E47C30-94C9-4571-80F0-7E63202B73DC}" destId="{67829A35-E0CE-465E-A74A-13BD4EBC4464}" srcOrd="1" destOrd="0" presId="urn:microsoft.com/office/officeart/2005/8/layout/hList1"/>
    <dgm:cxn modelId="{E0FEF70F-5D33-412C-8729-21FC10F352DC}" type="presParOf" srcId="{1A732179-FEC1-46C9-88BC-59AA79561F75}" destId="{5BB3E138-0D1D-4761-93EA-4E73794DF3D7}" srcOrd="1" destOrd="0" presId="urn:microsoft.com/office/officeart/2005/8/layout/hList1"/>
    <dgm:cxn modelId="{5BDF17F6-5237-4D62-8C31-5E99A3A83184}" type="presParOf" srcId="{1A732179-FEC1-46C9-88BC-59AA79561F75}" destId="{3BEED831-75E6-4041-B3B8-5792409F6535}" srcOrd="2" destOrd="0" presId="urn:microsoft.com/office/officeart/2005/8/layout/hList1"/>
    <dgm:cxn modelId="{8DEE577B-2EC8-4436-A453-529AE872E6F3}" type="presParOf" srcId="{3BEED831-75E6-4041-B3B8-5792409F6535}" destId="{61123AFF-2009-46CB-883C-248CAC99A6D0}" srcOrd="0" destOrd="0" presId="urn:microsoft.com/office/officeart/2005/8/layout/hList1"/>
    <dgm:cxn modelId="{8729D1CF-5FB9-4036-9DD0-105375F0556E}" type="presParOf" srcId="{3BEED831-75E6-4041-B3B8-5792409F6535}" destId="{89CE2D2C-ACC3-4453-B3DE-755E67B5213D}" srcOrd="1" destOrd="0" presId="urn:microsoft.com/office/officeart/2005/8/layout/hList1"/>
    <dgm:cxn modelId="{0755CEC1-54CC-4BF9-85CB-4CDE2D08E612}" type="presParOf" srcId="{1A732179-FEC1-46C9-88BC-59AA79561F75}" destId="{9376C61D-12E0-4C7F-A849-7F4AE598D892}" srcOrd="3" destOrd="0" presId="urn:microsoft.com/office/officeart/2005/8/layout/hList1"/>
    <dgm:cxn modelId="{CF7F5D0A-93C4-4381-BCFE-F7CE10EEEF0D}" type="presParOf" srcId="{1A732179-FEC1-46C9-88BC-59AA79561F75}" destId="{B20A7D4B-5EAE-4ECF-BDBE-1397E0AC3EFB}" srcOrd="4" destOrd="0" presId="urn:microsoft.com/office/officeart/2005/8/layout/hList1"/>
    <dgm:cxn modelId="{5A8BC812-3505-4358-B27E-630D10E9B232}" type="presParOf" srcId="{B20A7D4B-5EAE-4ECF-BDBE-1397E0AC3EFB}" destId="{8C6E62AF-1212-44F7-AEB8-BA03343ADB37}" srcOrd="0" destOrd="0" presId="urn:microsoft.com/office/officeart/2005/8/layout/hList1"/>
    <dgm:cxn modelId="{AD674164-7877-470D-AEAF-517950327005}" type="presParOf" srcId="{B20A7D4B-5EAE-4ECF-BDBE-1397E0AC3EFB}" destId="{81E05E7C-6CF7-465E-8446-02A5C1CCDB6B}" srcOrd="1" destOrd="0" presId="urn:microsoft.com/office/officeart/2005/8/layout/hList1"/>
    <dgm:cxn modelId="{53F4BBCD-DE1A-4BE8-81D2-180BBAC6BFDC}" type="presParOf" srcId="{1A732179-FEC1-46C9-88BC-59AA79561F75}" destId="{B56C3A43-595D-4CA5-9B86-048B1B6C4AA9}" srcOrd="5" destOrd="0" presId="urn:microsoft.com/office/officeart/2005/8/layout/hList1"/>
    <dgm:cxn modelId="{2A446663-8192-42CF-9C64-5C017F095C42}" type="presParOf" srcId="{1A732179-FEC1-46C9-88BC-59AA79561F75}" destId="{89A17506-42E2-435C-A321-DA30426CC256}" srcOrd="6" destOrd="0" presId="urn:microsoft.com/office/officeart/2005/8/layout/hList1"/>
    <dgm:cxn modelId="{44DC1B03-AFAA-48F7-A4A8-4C1C1909587F}" type="presParOf" srcId="{89A17506-42E2-435C-A321-DA30426CC256}" destId="{046F32BE-3540-47E7-B68D-54BC9261276C}" srcOrd="0" destOrd="0" presId="urn:microsoft.com/office/officeart/2005/8/layout/hList1"/>
    <dgm:cxn modelId="{F155C24B-932B-4288-BDC0-46432F600F1A}" type="presParOf" srcId="{89A17506-42E2-435C-A321-DA30426CC256}" destId="{5431B694-1801-4D32-94A2-290A4E4BF94B}" srcOrd="1" destOrd="0" presId="urn:microsoft.com/office/officeart/2005/8/layout/h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A448226-103A-4680-8B03-3B83FDFF835B}" type="doc">
      <dgm:prSet loTypeId="urn:microsoft.com/office/officeart/2005/8/layout/default" loCatId="list" qsTypeId="urn:microsoft.com/office/officeart/2005/8/quickstyle/simple1" qsCatId="simple" csTypeId="urn:microsoft.com/office/officeart/2005/8/colors/colorful5" csCatId="colorful"/>
      <dgm:spPr/>
      <dgm:t>
        <a:bodyPr/>
        <a:lstStyle/>
        <a:p>
          <a:endParaRPr lang="en-US"/>
        </a:p>
      </dgm:t>
    </dgm:pt>
    <dgm:pt modelId="{F2A27B1E-C710-48BF-B1A1-AE6AC913B8C9}">
      <dgm:prSet/>
      <dgm:spPr/>
      <dgm:t>
        <a:bodyPr/>
        <a:lstStyle/>
        <a:p>
          <a:pPr rtl="0"/>
          <a:r>
            <a:rPr lang="en-US" b="1" smtClean="0"/>
            <a:t>Cache-aside Pattern</a:t>
          </a:r>
          <a:endParaRPr lang="en-US" b="1" dirty="0"/>
        </a:p>
      </dgm:t>
    </dgm:pt>
    <dgm:pt modelId="{99D67A6B-527F-4E69-A891-82084F1AAE6F}" type="parTrans" cxnId="{E9FD8EBD-1F2B-4EE3-B270-4290029C58CC}">
      <dgm:prSet/>
      <dgm:spPr/>
      <dgm:t>
        <a:bodyPr/>
        <a:lstStyle/>
        <a:p>
          <a:endParaRPr lang="en-US"/>
        </a:p>
      </dgm:t>
    </dgm:pt>
    <dgm:pt modelId="{9F58D694-AD15-4769-AA0D-094C6E90DB5D}" type="sibTrans" cxnId="{E9FD8EBD-1F2B-4EE3-B270-4290029C58CC}">
      <dgm:prSet/>
      <dgm:spPr/>
      <dgm:t>
        <a:bodyPr/>
        <a:lstStyle/>
        <a:p>
          <a:endParaRPr lang="en-US"/>
        </a:p>
      </dgm:t>
    </dgm:pt>
    <dgm:pt modelId="{A1F68132-5174-40D8-9E71-0FDE3DA0E8DB}">
      <dgm:prSet/>
      <dgm:spPr/>
      <dgm:t>
        <a:bodyPr/>
        <a:lstStyle/>
        <a:p>
          <a:pPr rtl="0"/>
          <a:r>
            <a:rPr lang="en-US" b="1" smtClean="0"/>
            <a:t>Circuit Breaker Pattern</a:t>
          </a:r>
          <a:endParaRPr lang="en-US" b="1" dirty="0"/>
        </a:p>
      </dgm:t>
    </dgm:pt>
    <dgm:pt modelId="{C88F59B5-4526-490E-850E-FD3447183734}" type="parTrans" cxnId="{8AEA247E-D409-4989-B199-DEA7A625C88A}">
      <dgm:prSet/>
      <dgm:spPr/>
      <dgm:t>
        <a:bodyPr/>
        <a:lstStyle/>
        <a:p>
          <a:endParaRPr lang="en-US"/>
        </a:p>
      </dgm:t>
    </dgm:pt>
    <dgm:pt modelId="{22BF6BB0-FF54-4DD2-8C12-DBDF1092E7E5}" type="sibTrans" cxnId="{8AEA247E-D409-4989-B199-DEA7A625C88A}">
      <dgm:prSet/>
      <dgm:spPr/>
      <dgm:t>
        <a:bodyPr/>
        <a:lstStyle/>
        <a:p>
          <a:endParaRPr lang="en-US"/>
        </a:p>
      </dgm:t>
    </dgm:pt>
    <dgm:pt modelId="{A07D303C-B499-413C-A1BE-F91BF547DD08}">
      <dgm:prSet/>
      <dgm:spPr/>
      <dgm:t>
        <a:bodyPr/>
        <a:lstStyle/>
        <a:p>
          <a:pPr rtl="0"/>
          <a:r>
            <a:rPr lang="en-US" b="1" smtClean="0"/>
            <a:t>Compensating Transaction Pattern</a:t>
          </a:r>
          <a:endParaRPr lang="en-US" b="1" dirty="0"/>
        </a:p>
      </dgm:t>
    </dgm:pt>
    <dgm:pt modelId="{63E2DA32-A840-44CD-A32A-8D814AD8F77E}" type="parTrans" cxnId="{299AE7CF-B43A-482B-89A5-42F63464DF40}">
      <dgm:prSet/>
      <dgm:spPr/>
      <dgm:t>
        <a:bodyPr/>
        <a:lstStyle/>
        <a:p>
          <a:endParaRPr lang="en-US"/>
        </a:p>
      </dgm:t>
    </dgm:pt>
    <dgm:pt modelId="{AAA79200-30ED-4019-83B6-7A50696D6E72}" type="sibTrans" cxnId="{299AE7CF-B43A-482B-89A5-42F63464DF40}">
      <dgm:prSet/>
      <dgm:spPr/>
      <dgm:t>
        <a:bodyPr/>
        <a:lstStyle/>
        <a:p>
          <a:endParaRPr lang="en-US"/>
        </a:p>
      </dgm:t>
    </dgm:pt>
    <dgm:pt modelId="{A327F4B7-67CD-4ED1-B8D1-2045F910CD30}">
      <dgm:prSet/>
      <dgm:spPr/>
      <dgm:t>
        <a:bodyPr/>
        <a:lstStyle/>
        <a:p>
          <a:pPr rtl="0"/>
          <a:r>
            <a:rPr lang="en-US" b="1" smtClean="0"/>
            <a:t>Competing Consumers Pattern</a:t>
          </a:r>
          <a:endParaRPr lang="en-US" b="1" dirty="0"/>
        </a:p>
      </dgm:t>
    </dgm:pt>
    <dgm:pt modelId="{E0E61D1D-1E9C-4C2F-83E1-3FCD1E4CCA1E}" type="parTrans" cxnId="{7BA34AC1-8FE6-4245-B5A0-4A55791EE884}">
      <dgm:prSet/>
      <dgm:spPr/>
      <dgm:t>
        <a:bodyPr/>
        <a:lstStyle/>
        <a:p>
          <a:endParaRPr lang="en-US"/>
        </a:p>
      </dgm:t>
    </dgm:pt>
    <dgm:pt modelId="{6978ACF1-123A-4E37-A1A2-4BE2B06B27D2}" type="sibTrans" cxnId="{7BA34AC1-8FE6-4245-B5A0-4A55791EE884}">
      <dgm:prSet/>
      <dgm:spPr/>
      <dgm:t>
        <a:bodyPr/>
        <a:lstStyle/>
        <a:p>
          <a:endParaRPr lang="en-US"/>
        </a:p>
      </dgm:t>
    </dgm:pt>
    <dgm:pt modelId="{083E544B-AA80-40B1-964B-168C2C37F8A4}">
      <dgm:prSet/>
      <dgm:spPr/>
      <dgm:t>
        <a:bodyPr/>
        <a:lstStyle/>
        <a:p>
          <a:pPr rtl="0"/>
          <a:r>
            <a:rPr lang="en-US" b="1" smtClean="0"/>
            <a:t>Compute Resource Consolidation Pattern</a:t>
          </a:r>
          <a:endParaRPr lang="en-US" b="1" dirty="0"/>
        </a:p>
      </dgm:t>
    </dgm:pt>
    <dgm:pt modelId="{61D9ED38-414D-43A3-93E0-B82BCD1B6CB9}" type="parTrans" cxnId="{9FAEDBBC-8D6F-42EA-B277-00CC28DECCCD}">
      <dgm:prSet/>
      <dgm:spPr/>
      <dgm:t>
        <a:bodyPr/>
        <a:lstStyle/>
        <a:p>
          <a:endParaRPr lang="en-US"/>
        </a:p>
      </dgm:t>
    </dgm:pt>
    <dgm:pt modelId="{2FB81028-C5A1-4505-A2D5-5EB701B3EA8D}" type="sibTrans" cxnId="{9FAEDBBC-8D6F-42EA-B277-00CC28DECCCD}">
      <dgm:prSet/>
      <dgm:spPr/>
      <dgm:t>
        <a:bodyPr/>
        <a:lstStyle/>
        <a:p>
          <a:endParaRPr lang="en-US"/>
        </a:p>
      </dgm:t>
    </dgm:pt>
    <dgm:pt modelId="{C1074E64-92CD-42B6-A7E5-DD32F581CB71}">
      <dgm:prSet/>
      <dgm:spPr/>
      <dgm:t>
        <a:bodyPr/>
        <a:lstStyle/>
        <a:p>
          <a:pPr rtl="0"/>
          <a:r>
            <a:rPr lang="en-US" b="1" smtClean="0"/>
            <a:t>Command and Query Responsibility Segregation (CQRS) Pattern</a:t>
          </a:r>
          <a:endParaRPr lang="en-US" b="1" dirty="0"/>
        </a:p>
      </dgm:t>
    </dgm:pt>
    <dgm:pt modelId="{7B210794-E3D6-47D4-B492-609C39EC1EBD}" type="parTrans" cxnId="{83B1C7D6-9A13-40BA-909B-B5F75FC46648}">
      <dgm:prSet/>
      <dgm:spPr/>
      <dgm:t>
        <a:bodyPr/>
        <a:lstStyle/>
        <a:p>
          <a:endParaRPr lang="en-US"/>
        </a:p>
      </dgm:t>
    </dgm:pt>
    <dgm:pt modelId="{A38D0951-45B2-4930-AFA0-DEE987ADDEEA}" type="sibTrans" cxnId="{83B1C7D6-9A13-40BA-909B-B5F75FC46648}">
      <dgm:prSet/>
      <dgm:spPr/>
      <dgm:t>
        <a:bodyPr/>
        <a:lstStyle/>
        <a:p>
          <a:endParaRPr lang="en-US"/>
        </a:p>
      </dgm:t>
    </dgm:pt>
    <dgm:pt modelId="{2E73FA4C-E677-474D-AD07-11DF0F170C0A}">
      <dgm:prSet/>
      <dgm:spPr/>
      <dgm:t>
        <a:bodyPr/>
        <a:lstStyle/>
        <a:p>
          <a:pPr rtl="0"/>
          <a:r>
            <a:rPr lang="en-US" b="1" smtClean="0"/>
            <a:t>Event Sourcing Pattern</a:t>
          </a:r>
          <a:endParaRPr lang="en-US" b="1" dirty="0"/>
        </a:p>
      </dgm:t>
    </dgm:pt>
    <dgm:pt modelId="{C17E37BC-B2B8-424A-8BDC-770EC1746BA1}" type="parTrans" cxnId="{B24A929C-C846-4F8E-8DC1-FDA6FED58100}">
      <dgm:prSet/>
      <dgm:spPr/>
      <dgm:t>
        <a:bodyPr/>
        <a:lstStyle/>
        <a:p>
          <a:endParaRPr lang="en-US"/>
        </a:p>
      </dgm:t>
    </dgm:pt>
    <dgm:pt modelId="{073EAE4E-A578-48CC-B37C-629FD36534DA}" type="sibTrans" cxnId="{B24A929C-C846-4F8E-8DC1-FDA6FED58100}">
      <dgm:prSet/>
      <dgm:spPr/>
      <dgm:t>
        <a:bodyPr/>
        <a:lstStyle/>
        <a:p>
          <a:endParaRPr lang="en-US"/>
        </a:p>
      </dgm:t>
    </dgm:pt>
    <dgm:pt modelId="{AA4CBCF3-4F88-4691-BCF1-1D3BC69541F3}">
      <dgm:prSet/>
      <dgm:spPr/>
      <dgm:t>
        <a:bodyPr/>
        <a:lstStyle/>
        <a:p>
          <a:pPr rtl="0"/>
          <a:r>
            <a:rPr lang="en-US" b="1" smtClean="0"/>
            <a:t>External Configuration Store Pattern</a:t>
          </a:r>
          <a:endParaRPr lang="en-US" b="1" dirty="0"/>
        </a:p>
      </dgm:t>
    </dgm:pt>
    <dgm:pt modelId="{0EFB9038-B2A1-4C03-9C97-F1DEED546ADB}" type="parTrans" cxnId="{0C06485E-F11E-459C-ABD1-BAD34790F0B9}">
      <dgm:prSet/>
      <dgm:spPr/>
      <dgm:t>
        <a:bodyPr/>
        <a:lstStyle/>
        <a:p>
          <a:endParaRPr lang="en-US"/>
        </a:p>
      </dgm:t>
    </dgm:pt>
    <dgm:pt modelId="{6739091C-902B-4047-9842-2E6572212234}" type="sibTrans" cxnId="{0C06485E-F11E-459C-ABD1-BAD34790F0B9}">
      <dgm:prSet/>
      <dgm:spPr/>
      <dgm:t>
        <a:bodyPr/>
        <a:lstStyle/>
        <a:p>
          <a:endParaRPr lang="en-US"/>
        </a:p>
      </dgm:t>
    </dgm:pt>
    <dgm:pt modelId="{960148C9-06AE-48D7-A280-7D4D9E48C7C8}">
      <dgm:prSet/>
      <dgm:spPr/>
      <dgm:t>
        <a:bodyPr/>
        <a:lstStyle/>
        <a:p>
          <a:pPr rtl="0"/>
          <a:r>
            <a:rPr lang="en-US" b="1" smtClean="0"/>
            <a:t>Federated Identity Pattern</a:t>
          </a:r>
          <a:endParaRPr lang="en-US" b="1" dirty="0"/>
        </a:p>
      </dgm:t>
    </dgm:pt>
    <dgm:pt modelId="{D25FE130-70F1-46D9-AD27-A4DD50779777}" type="parTrans" cxnId="{7FA86F9A-00E1-4816-A6DE-FEED565E7B02}">
      <dgm:prSet/>
      <dgm:spPr/>
      <dgm:t>
        <a:bodyPr/>
        <a:lstStyle/>
        <a:p>
          <a:endParaRPr lang="en-US"/>
        </a:p>
      </dgm:t>
    </dgm:pt>
    <dgm:pt modelId="{73CB8064-30DB-40B7-AF9B-B95AF0902D42}" type="sibTrans" cxnId="{7FA86F9A-00E1-4816-A6DE-FEED565E7B02}">
      <dgm:prSet/>
      <dgm:spPr/>
      <dgm:t>
        <a:bodyPr/>
        <a:lstStyle/>
        <a:p>
          <a:endParaRPr lang="en-US"/>
        </a:p>
      </dgm:t>
    </dgm:pt>
    <dgm:pt modelId="{09F45055-7DB9-413C-B515-7A03605E434A}">
      <dgm:prSet/>
      <dgm:spPr/>
      <dgm:t>
        <a:bodyPr/>
        <a:lstStyle/>
        <a:p>
          <a:pPr rtl="0"/>
          <a:r>
            <a:rPr lang="en-US" b="1" smtClean="0"/>
            <a:t>Gatekeeper Pattern</a:t>
          </a:r>
          <a:endParaRPr lang="en-US" b="1" dirty="0"/>
        </a:p>
      </dgm:t>
    </dgm:pt>
    <dgm:pt modelId="{8B938006-E89F-4A61-9A01-D4A91E9A9B4E}" type="parTrans" cxnId="{9A219AF2-5C25-4A98-9DA3-BF979489C589}">
      <dgm:prSet/>
      <dgm:spPr/>
      <dgm:t>
        <a:bodyPr/>
        <a:lstStyle/>
        <a:p>
          <a:endParaRPr lang="en-US"/>
        </a:p>
      </dgm:t>
    </dgm:pt>
    <dgm:pt modelId="{0A17FCC1-EB97-4CC8-B0FE-B9FB060D1559}" type="sibTrans" cxnId="{9A219AF2-5C25-4A98-9DA3-BF979489C589}">
      <dgm:prSet/>
      <dgm:spPr/>
      <dgm:t>
        <a:bodyPr/>
        <a:lstStyle/>
        <a:p>
          <a:endParaRPr lang="en-US"/>
        </a:p>
      </dgm:t>
    </dgm:pt>
    <dgm:pt modelId="{F4E37B8F-D4AE-4320-AB59-2FE253BACC11}">
      <dgm:prSet/>
      <dgm:spPr/>
      <dgm:t>
        <a:bodyPr/>
        <a:lstStyle/>
        <a:p>
          <a:pPr rtl="0"/>
          <a:r>
            <a:rPr lang="en-US" b="1" smtClean="0"/>
            <a:t>Health Endpoint Monitoring Pattern</a:t>
          </a:r>
          <a:endParaRPr lang="en-US" b="1" dirty="0"/>
        </a:p>
      </dgm:t>
    </dgm:pt>
    <dgm:pt modelId="{B9A36E64-DE3D-4739-B2FB-6CECB6ABE59F}" type="parTrans" cxnId="{D4349D18-D471-4206-B9FA-028480A6291F}">
      <dgm:prSet/>
      <dgm:spPr/>
      <dgm:t>
        <a:bodyPr/>
        <a:lstStyle/>
        <a:p>
          <a:endParaRPr lang="en-US"/>
        </a:p>
      </dgm:t>
    </dgm:pt>
    <dgm:pt modelId="{50627151-652D-4892-B655-5C7F18566840}" type="sibTrans" cxnId="{D4349D18-D471-4206-B9FA-028480A6291F}">
      <dgm:prSet/>
      <dgm:spPr/>
      <dgm:t>
        <a:bodyPr/>
        <a:lstStyle/>
        <a:p>
          <a:endParaRPr lang="en-US"/>
        </a:p>
      </dgm:t>
    </dgm:pt>
    <dgm:pt modelId="{2F3E9FB0-6803-4E7C-A6A0-D0B962B02BD9}">
      <dgm:prSet/>
      <dgm:spPr/>
      <dgm:t>
        <a:bodyPr/>
        <a:lstStyle/>
        <a:p>
          <a:pPr rtl="0"/>
          <a:r>
            <a:rPr lang="en-US" b="1" smtClean="0"/>
            <a:t>Index Table Pattern</a:t>
          </a:r>
          <a:endParaRPr lang="en-US" b="1" dirty="0"/>
        </a:p>
      </dgm:t>
    </dgm:pt>
    <dgm:pt modelId="{AA8110A6-84CF-450B-850D-05F66F764943}" type="parTrans" cxnId="{33E22B95-0E81-4D72-98B5-AECC6D115BEB}">
      <dgm:prSet/>
      <dgm:spPr/>
      <dgm:t>
        <a:bodyPr/>
        <a:lstStyle/>
        <a:p>
          <a:endParaRPr lang="en-US"/>
        </a:p>
      </dgm:t>
    </dgm:pt>
    <dgm:pt modelId="{2C2A0560-A984-492F-A819-5D894229CA9A}" type="sibTrans" cxnId="{33E22B95-0E81-4D72-98B5-AECC6D115BEB}">
      <dgm:prSet/>
      <dgm:spPr/>
      <dgm:t>
        <a:bodyPr/>
        <a:lstStyle/>
        <a:p>
          <a:endParaRPr lang="en-US"/>
        </a:p>
      </dgm:t>
    </dgm:pt>
    <dgm:pt modelId="{86396EC6-31C7-4DEB-8754-0D894935E378}">
      <dgm:prSet/>
      <dgm:spPr/>
      <dgm:t>
        <a:bodyPr/>
        <a:lstStyle/>
        <a:p>
          <a:pPr rtl="0"/>
          <a:r>
            <a:rPr lang="en-US" b="1" smtClean="0"/>
            <a:t>Leader Election Pattern</a:t>
          </a:r>
          <a:endParaRPr lang="en-US" b="1" dirty="0"/>
        </a:p>
      </dgm:t>
    </dgm:pt>
    <dgm:pt modelId="{674E3AB3-3F31-4783-B2AE-6379463F8861}" type="parTrans" cxnId="{894FA8D1-6AE7-4F3C-810D-98A446C67F20}">
      <dgm:prSet/>
      <dgm:spPr/>
      <dgm:t>
        <a:bodyPr/>
        <a:lstStyle/>
        <a:p>
          <a:endParaRPr lang="en-US"/>
        </a:p>
      </dgm:t>
    </dgm:pt>
    <dgm:pt modelId="{88B80384-3909-4E92-B4D5-C397E5E4C481}" type="sibTrans" cxnId="{894FA8D1-6AE7-4F3C-810D-98A446C67F20}">
      <dgm:prSet/>
      <dgm:spPr/>
      <dgm:t>
        <a:bodyPr/>
        <a:lstStyle/>
        <a:p>
          <a:endParaRPr lang="en-US"/>
        </a:p>
      </dgm:t>
    </dgm:pt>
    <dgm:pt modelId="{92DCCD5C-10F9-405C-B0B9-ACF74076BEAD}">
      <dgm:prSet/>
      <dgm:spPr/>
      <dgm:t>
        <a:bodyPr/>
        <a:lstStyle/>
        <a:p>
          <a:pPr rtl="0"/>
          <a:r>
            <a:rPr lang="en-US" b="1" dirty="0" smtClean="0"/>
            <a:t>Materialized View Pattern</a:t>
          </a:r>
          <a:endParaRPr lang="en-US" b="1" dirty="0"/>
        </a:p>
      </dgm:t>
    </dgm:pt>
    <dgm:pt modelId="{11F38036-2120-4E8F-8671-ABEE9EC2ACBF}" type="parTrans" cxnId="{97D9950D-CA13-4325-90B8-6393139FC584}">
      <dgm:prSet/>
      <dgm:spPr/>
      <dgm:t>
        <a:bodyPr/>
        <a:lstStyle/>
        <a:p>
          <a:endParaRPr lang="en-US"/>
        </a:p>
      </dgm:t>
    </dgm:pt>
    <dgm:pt modelId="{A29EC2D1-B32D-4CB8-A587-8F3363422E61}" type="sibTrans" cxnId="{97D9950D-CA13-4325-90B8-6393139FC584}">
      <dgm:prSet/>
      <dgm:spPr/>
      <dgm:t>
        <a:bodyPr/>
        <a:lstStyle/>
        <a:p>
          <a:endParaRPr lang="en-US"/>
        </a:p>
      </dgm:t>
    </dgm:pt>
    <dgm:pt modelId="{04F953C1-E3C8-431F-B8B3-BF0F6730E214}">
      <dgm:prSet/>
      <dgm:spPr/>
      <dgm:t>
        <a:bodyPr/>
        <a:lstStyle/>
        <a:p>
          <a:pPr rtl="0"/>
          <a:r>
            <a:rPr lang="en-US" b="1" smtClean="0"/>
            <a:t>Pipes and Filters Pattern</a:t>
          </a:r>
          <a:endParaRPr lang="en-US" b="1" dirty="0"/>
        </a:p>
      </dgm:t>
    </dgm:pt>
    <dgm:pt modelId="{C21E9741-3B3D-4529-98F7-26209F2C218B}" type="parTrans" cxnId="{EC0758B5-0B36-4610-A4DE-6D5DA81686BA}">
      <dgm:prSet/>
      <dgm:spPr/>
      <dgm:t>
        <a:bodyPr/>
        <a:lstStyle/>
        <a:p>
          <a:endParaRPr lang="en-US"/>
        </a:p>
      </dgm:t>
    </dgm:pt>
    <dgm:pt modelId="{28E27401-2B35-4067-9850-93B622995936}" type="sibTrans" cxnId="{EC0758B5-0B36-4610-A4DE-6D5DA81686BA}">
      <dgm:prSet/>
      <dgm:spPr/>
      <dgm:t>
        <a:bodyPr/>
        <a:lstStyle/>
        <a:p>
          <a:endParaRPr lang="en-US"/>
        </a:p>
      </dgm:t>
    </dgm:pt>
    <dgm:pt modelId="{BECCF39F-771C-4E44-BD24-4783DBFEB4B4}">
      <dgm:prSet/>
      <dgm:spPr/>
      <dgm:t>
        <a:bodyPr/>
        <a:lstStyle/>
        <a:p>
          <a:pPr rtl="0"/>
          <a:r>
            <a:rPr lang="en-US" b="1" smtClean="0"/>
            <a:t>Priority Queue Pattern</a:t>
          </a:r>
          <a:endParaRPr lang="en-US" b="1" dirty="0"/>
        </a:p>
      </dgm:t>
    </dgm:pt>
    <dgm:pt modelId="{425A6583-DD5A-4E8D-8C83-BF8C8BF1FF27}" type="parTrans" cxnId="{B7027103-CA83-4417-8990-5B772FB98192}">
      <dgm:prSet/>
      <dgm:spPr/>
      <dgm:t>
        <a:bodyPr/>
        <a:lstStyle/>
        <a:p>
          <a:endParaRPr lang="en-US"/>
        </a:p>
      </dgm:t>
    </dgm:pt>
    <dgm:pt modelId="{F47D3C3E-D564-4B24-B15E-8FF84123D157}" type="sibTrans" cxnId="{B7027103-CA83-4417-8990-5B772FB98192}">
      <dgm:prSet/>
      <dgm:spPr/>
      <dgm:t>
        <a:bodyPr/>
        <a:lstStyle/>
        <a:p>
          <a:endParaRPr lang="en-US"/>
        </a:p>
      </dgm:t>
    </dgm:pt>
    <dgm:pt modelId="{E50741CD-8099-443B-A95F-701CB34D9FF9}">
      <dgm:prSet/>
      <dgm:spPr/>
      <dgm:t>
        <a:bodyPr/>
        <a:lstStyle/>
        <a:p>
          <a:pPr rtl="0"/>
          <a:r>
            <a:rPr lang="en-US" b="1" smtClean="0"/>
            <a:t>Queue-based Load Leveling Pattern</a:t>
          </a:r>
          <a:endParaRPr lang="en-US" b="1" dirty="0"/>
        </a:p>
      </dgm:t>
    </dgm:pt>
    <dgm:pt modelId="{AEEAB145-B56F-4990-897B-4D500E11FFB0}" type="parTrans" cxnId="{B5FC3373-5725-4C92-9D16-D1138711C927}">
      <dgm:prSet/>
      <dgm:spPr/>
      <dgm:t>
        <a:bodyPr/>
        <a:lstStyle/>
        <a:p>
          <a:endParaRPr lang="en-US"/>
        </a:p>
      </dgm:t>
    </dgm:pt>
    <dgm:pt modelId="{8AE5F397-8ADC-4A21-BFF0-F84E0FFF823A}" type="sibTrans" cxnId="{B5FC3373-5725-4C92-9D16-D1138711C927}">
      <dgm:prSet/>
      <dgm:spPr/>
      <dgm:t>
        <a:bodyPr/>
        <a:lstStyle/>
        <a:p>
          <a:endParaRPr lang="en-US"/>
        </a:p>
      </dgm:t>
    </dgm:pt>
    <dgm:pt modelId="{0538EBFE-BEE8-45A0-8E64-D980C7D99DB0}">
      <dgm:prSet/>
      <dgm:spPr/>
      <dgm:t>
        <a:bodyPr/>
        <a:lstStyle/>
        <a:p>
          <a:pPr rtl="0"/>
          <a:r>
            <a:rPr lang="en-US" b="1" smtClean="0"/>
            <a:t>Retry Pattern</a:t>
          </a:r>
          <a:endParaRPr lang="en-US" b="1" dirty="0"/>
        </a:p>
      </dgm:t>
    </dgm:pt>
    <dgm:pt modelId="{857C12DB-4317-4A2A-BEC8-A49190F585CD}" type="parTrans" cxnId="{B57E2CC4-1D21-47B2-999A-B39C61B1084E}">
      <dgm:prSet/>
      <dgm:spPr/>
      <dgm:t>
        <a:bodyPr/>
        <a:lstStyle/>
        <a:p>
          <a:endParaRPr lang="en-US"/>
        </a:p>
      </dgm:t>
    </dgm:pt>
    <dgm:pt modelId="{F384FEEF-5071-4A7E-AFC7-FA1B0EA19BB0}" type="sibTrans" cxnId="{B57E2CC4-1D21-47B2-999A-B39C61B1084E}">
      <dgm:prSet/>
      <dgm:spPr/>
      <dgm:t>
        <a:bodyPr/>
        <a:lstStyle/>
        <a:p>
          <a:endParaRPr lang="en-US"/>
        </a:p>
      </dgm:t>
    </dgm:pt>
    <dgm:pt modelId="{92D3A3F1-5F9E-4EBB-8C28-E93052F2F8F5}">
      <dgm:prSet/>
      <dgm:spPr/>
      <dgm:t>
        <a:bodyPr/>
        <a:lstStyle/>
        <a:p>
          <a:pPr rtl="0"/>
          <a:r>
            <a:rPr lang="en-US" b="1" smtClean="0"/>
            <a:t>Runtime Reconfiguration Pattern</a:t>
          </a:r>
          <a:endParaRPr lang="en-US" b="1" dirty="0"/>
        </a:p>
      </dgm:t>
    </dgm:pt>
    <dgm:pt modelId="{253C0A7E-2376-43AE-82CB-BFC790B1FC88}" type="parTrans" cxnId="{4F394E4D-72D0-481C-B4A1-E7B4E2EFDA24}">
      <dgm:prSet/>
      <dgm:spPr/>
      <dgm:t>
        <a:bodyPr/>
        <a:lstStyle/>
        <a:p>
          <a:endParaRPr lang="en-US"/>
        </a:p>
      </dgm:t>
    </dgm:pt>
    <dgm:pt modelId="{73AB869F-BC06-4C4F-9438-892A052F2809}" type="sibTrans" cxnId="{4F394E4D-72D0-481C-B4A1-E7B4E2EFDA24}">
      <dgm:prSet/>
      <dgm:spPr/>
      <dgm:t>
        <a:bodyPr/>
        <a:lstStyle/>
        <a:p>
          <a:endParaRPr lang="en-US"/>
        </a:p>
      </dgm:t>
    </dgm:pt>
    <dgm:pt modelId="{B8202909-0F4C-44A9-BB74-11CDC462EAAD}">
      <dgm:prSet/>
      <dgm:spPr/>
      <dgm:t>
        <a:bodyPr/>
        <a:lstStyle/>
        <a:p>
          <a:pPr rtl="0"/>
          <a:r>
            <a:rPr lang="en-US" b="1" smtClean="0"/>
            <a:t>Scheduler Agent Supervisor Pattern</a:t>
          </a:r>
          <a:endParaRPr lang="en-US" b="1" dirty="0"/>
        </a:p>
      </dgm:t>
    </dgm:pt>
    <dgm:pt modelId="{0FDD6DAA-7CAB-434A-B35B-800D0FDD6BAE}" type="parTrans" cxnId="{BA189B72-8D2B-4AE5-8786-D2CC3606D81A}">
      <dgm:prSet/>
      <dgm:spPr/>
      <dgm:t>
        <a:bodyPr/>
        <a:lstStyle/>
        <a:p>
          <a:endParaRPr lang="en-US"/>
        </a:p>
      </dgm:t>
    </dgm:pt>
    <dgm:pt modelId="{2977647F-A0BA-47A8-9CA9-D4411887E799}" type="sibTrans" cxnId="{BA189B72-8D2B-4AE5-8786-D2CC3606D81A}">
      <dgm:prSet/>
      <dgm:spPr/>
      <dgm:t>
        <a:bodyPr/>
        <a:lstStyle/>
        <a:p>
          <a:endParaRPr lang="en-US"/>
        </a:p>
      </dgm:t>
    </dgm:pt>
    <dgm:pt modelId="{CD31E344-8506-4EF3-925A-AA719F9ED86A}">
      <dgm:prSet/>
      <dgm:spPr/>
      <dgm:t>
        <a:bodyPr/>
        <a:lstStyle/>
        <a:p>
          <a:pPr rtl="0"/>
          <a:r>
            <a:rPr lang="en-US" b="1" smtClean="0"/>
            <a:t>Sharding Pattern</a:t>
          </a:r>
          <a:endParaRPr lang="en-US" b="1" dirty="0"/>
        </a:p>
      </dgm:t>
    </dgm:pt>
    <dgm:pt modelId="{C73C07CD-6FD5-49D0-8AD4-785EC91940D9}" type="parTrans" cxnId="{BEA6FEB8-5F4A-4F49-8CEA-B3161D38F37A}">
      <dgm:prSet/>
      <dgm:spPr/>
      <dgm:t>
        <a:bodyPr/>
        <a:lstStyle/>
        <a:p>
          <a:endParaRPr lang="en-US"/>
        </a:p>
      </dgm:t>
    </dgm:pt>
    <dgm:pt modelId="{B1C4F099-1F1B-4048-B053-A07108776888}" type="sibTrans" cxnId="{BEA6FEB8-5F4A-4F49-8CEA-B3161D38F37A}">
      <dgm:prSet/>
      <dgm:spPr/>
      <dgm:t>
        <a:bodyPr/>
        <a:lstStyle/>
        <a:p>
          <a:endParaRPr lang="en-US"/>
        </a:p>
      </dgm:t>
    </dgm:pt>
    <dgm:pt modelId="{CD8766B4-0ECE-4121-99EA-6E2FB02F2A41}">
      <dgm:prSet/>
      <dgm:spPr/>
      <dgm:t>
        <a:bodyPr/>
        <a:lstStyle/>
        <a:p>
          <a:pPr rtl="0"/>
          <a:r>
            <a:rPr lang="en-US" b="1" smtClean="0"/>
            <a:t>Static Content Hosting Pattern</a:t>
          </a:r>
          <a:endParaRPr lang="en-US" b="1" dirty="0"/>
        </a:p>
      </dgm:t>
    </dgm:pt>
    <dgm:pt modelId="{E8EF256E-3CA8-4F87-BFA2-F1884691C193}" type="parTrans" cxnId="{B5BBBF96-0AAF-4A69-AB6E-55F8BD618616}">
      <dgm:prSet/>
      <dgm:spPr/>
      <dgm:t>
        <a:bodyPr/>
        <a:lstStyle/>
        <a:p>
          <a:endParaRPr lang="en-US"/>
        </a:p>
      </dgm:t>
    </dgm:pt>
    <dgm:pt modelId="{2DF40351-6F69-4D04-914D-592DEA2C8C02}" type="sibTrans" cxnId="{B5BBBF96-0AAF-4A69-AB6E-55F8BD618616}">
      <dgm:prSet/>
      <dgm:spPr/>
      <dgm:t>
        <a:bodyPr/>
        <a:lstStyle/>
        <a:p>
          <a:endParaRPr lang="en-US"/>
        </a:p>
      </dgm:t>
    </dgm:pt>
    <dgm:pt modelId="{11D03B51-B797-43C7-976E-E9DB7AE8C266}">
      <dgm:prSet/>
      <dgm:spPr/>
      <dgm:t>
        <a:bodyPr/>
        <a:lstStyle/>
        <a:p>
          <a:pPr rtl="0"/>
          <a:r>
            <a:rPr lang="en-US" b="1" smtClean="0"/>
            <a:t>Throttling Pattern</a:t>
          </a:r>
          <a:endParaRPr lang="en-US" b="1" dirty="0"/>
        </a:p>
      </dgm:t>
    </dgm:pt>
    <dgm:pt modelId="{4FDF40AD-A255-40DD-964A-1BFD587D0D75}" type="parTrans" cxnId="{63F99716-5F03-4B5B-916F-59864AF930FC}">
      <dgm:prSet/>
      <dgm:spPr/>
      <dgm:t>
        <a:bodyPr/>
        <a:lstStyle/>
        <a:p>
          <a:endParaRPr lang="en-US"/>
        </a:p>
      </dgm:t>
    </dgm:pt>
    <dgm:pt modelId="{488D7C4F-3F6E-4C9F-B661-2B0B7747D3FD}" type="sibTrans" cxnId="{63F99716-5F03-4B5B-916F-59864AF930FC}">
      <dgm:prSet/>
      <dgm:spPr/>
      <dgm:t>
        <a:bodyPr/>
        <a:lstStyle/>
        <a:p>
          <a:endParaRPr lang="en-US"/>
        </a:p>
      </dgm:t>
    </dgm:pt>
    <dgm:pt modelId="{C15E5F78-2DEB-400B-9A5C-BA3552E9042F}">
      <dgm:prSet/>
      <dgm:spPr/>
      <dgm:t>
        <a:bodyPr/>
        <a:lstStyle/>
        <a:p>
          <a:pPr rtl="0"/>
          <a:r>
            <a:rPr lang="en-US" b="1" smtClean="0"/>
            <a:t>Valet Key Pattern</a:t>
          </a:r>
          <a:endParaRPr lang="en-US" b="1" dirty="0"/>
        </a:p>
      </dgm:t>
    </dgm:pt>
    <dgm:pt modelId="{390B1EBC-F6DB-424D-8BC8-65EABC80247E}" type="parTrans" cxnId="{9635D63F-9007-439D-A3B8-638B550001F6}">
      <dgm:prSet/>
      <dgm:spPr/>
      <dgm:t>
        <a:bodyPr/>
        <a:lstStyle/>
        <a:p>
          <a:endParaRPr lang="en-US"/>
        </a:p>
      </dgm:t>
    </dgm:pt>
    <dgm:pt modelId="{4EC0AD09-4BA6-45A8-A41E-0563557A8B6A}" type="sibTrans" cxnId="{9635D63F-9007-439D-A3B8-638B550001F6}">
      <dgm:prSet/>
      <dgm:spPr/>
      <dgm:t>
        <a:bodyPr/>
        <a:lstStyle/>
        <a:p>
          <a:endParaRPr lang="en-US"/>
        </a:p>
      </dgm:t>
    </dgm:pt>
    <dgm:pt modelId="{49E0AC6B-4A4E-47DB-AAA5-A5DE36E84338}" type="pres">
      <dgm:prSet presAssocID="{EA448226-103A-4680-8B03-3B83FDFF835B}" presName="diagram" presStyleCnt="0">
        <dgm:presLayoutVars>
          <dgm:dir/>
          <dgm:resizeHandles val="exact"/>
        </dgm:presLayoutVars>
      </dgm:prSet>
      <dgm:spPr/>
      <dgm:t>
        <a:bodyPr/>
        <a:lstStyle/>
        <a:p>
          <a:endParaRPr lang="en-US"/>
        </a:p>
      </dgm:t>
    </dgm:pt>
    <dgm:pt modelId="{99745159-85EA-4513-AC90-641856392E6E}" type="pres">
      <dgm:prSet presAssocID="{F2A27B1E-C710-48BF-B1A1-AE6AC913B8C9}" presName="node" presStyleLbl="node1" presStyleIdx="0" presStyleCnt="24">
        <dgm:presLayoutVars>
          <dgm:bulletEnabled val="1"/>
        </dgm:presLayoutVars>
      </dgm:prSet>
      <dgm:spPr/>
      <dgm:t>
        <a:bodyPr/>
        <a:lstStyle/>
        <a:p>
          <a:endParaRPr lang="en-US"/>
        </a:p>
      </dgm:t>
    </dgm:pt>
    <dgm:pt modelId="{5D8FDCF2-5A1B-46D4-B8FE-5F667854C1F7}" type="pres">
      <dgm:prSet presAssocID="{9F58D694-AD15-4769-AA0D-094C6E90DB5D}" presName="sibTrans" presStyleCnt="0"/>
      <dgm:spPr/>
    </dgm:pt>
    <dgm:pt modelId="{3DD162FE-6C02-4E38-85F2-352620DBF582}" type="pres">
      <dgm:prSet presAssocID="{A1F68132-5174-40D8-9E71-0FDE3DA0E8DB}" presName="node" presStyleLbl="node1" presStyleIdx="1" presStyleCnt="24">
        <dgm:presLayoutVars>
          <dgm:bulletEnabled val="1"/>
        </dgm:presLayoutVars>
      </dgm:prSet>
      <dgm:spPr/>
      <dgm:t>
        <a:bodyPr/>
        <a:lstStyle/>
        <a:p>
          <a:endParaRPr lang="en-US"/>
        </a:p>
      </dgm:t>
    </dgm:pt>
    <dgm:pt modelId="{B93FCCA8-899A-4475-933D-E4515E4E8050}" type="pres">
      <dgm:prSet presAssocID="{22BF6BB0-FF54-4DD2-8C12-DBDF1092E7E5}" presName="sibTrans" presStyleCnt="0"/>
      <dgm:spPr/>
    </dgm:pt>
    <dgm:pt modelId="{0ECB882E-1A5A-4446-920A-BBF41DFFAFC2}" type="pres">
      <dgm:prSet presAssocID="{A07D303C-B499-413C-A1BE-F91BF547DD08}" presName="node" presStyleLbl="node1" presStyleIdx="2" presStyleCnt="24">
        <dgm:presLayoutVars>
          <dgm:bulletEnabled val="1"/>
        </dgm:presLayoutVars>
      </dgm:prSet>
      <dgm:spPr/>
      <dgm:t>
        <a:bodyPr/>
        <a:lstStyle/>
        <a:p>
          <a:endParaRPr lang="en-US"/>
        </a:p>
      </dgm:t>
    </dgm:pt>
    <dgm:pt modelId="{CA6015A0-E1A0-4BE2-9676-50DE8A024F87}" type="pres">
      <dgm:prSet presAssocID="{AAA79200-30ED-4019-83B6-7A50696D6E72}" presName="sibTrans" presStyleCnt="0"/>
      <dgm:spPr/>
    </dgm:pt>
    <dgm:pt modelId="{9DE32003-DEA0-4602-A9DB-0C51115A93DE}" type="pres">
      <dgm:prSet presAssocID="{A327F4B7-67CD-4ED1-B8D1-2045F910CD30}" presName="node" presStyleLbl="node1" presStyleIdx="3" presStyleCnt="24">
        <dgm:presLayoutVars>
          <dgm:bulletEnabled val="1"/>
        </dgm:presLayoutVars>
      </dgm:prSet>
      <dgm:spPr/>
      <dgm:t>
        <a:bodyPr/>
        <a:lstStyle/>
        <a:p>
          <a:endParaRPr lang="en-US"/>
        </a:p>
      </dgm:t>
    </dgm:pt>
    <dgm:pt modelId="{9AC4BF1C-643D-4127-9E8D-7977CADDAD83}" type="pres">
      <dgm:prSet presAssocID="{6978ACF1-123A-4E37-A1A2-4BE2B06B27D2}" presName="sibTrans" presStyleCnt="0"/>
      <dgm:spPr/>
    </dgm:pt>
    <dgm:pt modelId="{7D1383BB-20F0-40D9-963E-AA1D48048BDC}" type="pres">
      <dgm:prSet presAssocID="{083E544B-AA80-40B1-964B-168C2C37F8A4}" presName="node" presStyleLbl="node1" presStyleIdx="4" presStyleCnt="24">
        <dgm:presLayoutVars>
          <dgm:bulletEnabled val="1"/>
        </dgm:presLayoutVars>
      </dgm:prSet>
      <dgm:spPr/>
      <dgm:t>
        <a:bodyPr/>
        <a:lstStyle/>
        <a:p>
          <a:endParaRPr lang="en-US"/>
        </a:p>
      </dgm:t>
    </dgm:pt>
    <dgm:pt modelId="{0235F88E-C06D-4145-9CF2-1546133BDAAE}" type="pres">
      <dgm:prSet presAssocID="{2FB81028-C5A1-4505-A2D5-5EB701B3EA8D}" presName="sibTrans" presStyleCnt="0"/>
      <dgm:spPr/>
    </dgm:pt>
    <dgm:pt modelId="{85C76485-9DDB-4113-BE7B-C729F36529B9}" type="pres">
      <dgm:prSet presAssocID="{C1074E64-92CD-42B6-A7E5-DD32F581CB71}" presName="node" presStyleLbl="node1" presStyleIdx="5" presStyleCnt="24">
        <dgm:presLayoutVars>
          <dgm:bulletEnabled val="1"/>
        </dgm:presLayoutVars>
      </dgm:prSet>
      <dgm:spPr/>
      <dgm:t>
        <a:bodyPr/>
        <a:lstStyle/>
        <a:p>
          <a:endParaRPr lang="en-US"/>
        </a:p>
      </dgm:t>
    </dgm:pt>
    <dgm:pt modelId="{13D581B4-8045-4441-BE92-6CC119053E48}" type="pres">
      <dgm:prSet presAssocID="{A38D0951-45B2-4930-AFA0-DEE987ADDEEA}" presName="sibTrans" presStyleCnt="0"/>
      <dgm:spPr/>
    </dgm:pt>
    <dgm:pt modelId="{C9E1542C-57CE-4A71-A3B7-45CFA110E390}" type="pres">
      <dgm:prSet presAssocID="{2E73FA4C-E677-474D-AD07-11DF0F170C0A}" presName="node" presStyleLbl="node1" presStyleIdx="6" presStyleCnt="24">
        <dgm:presLayoutVars>
          <dgm:bulletEnabled val="1"/>
        </dgm:presLayoutVars>
      </dgm:prSet>
      <dgm:spPr/>
      <dgm:t>
        <a:bodyPr/>
        <a:lstStyle/>
        <a:p>
          <a:endParaRPr lang="en-US"/>
        </a:p>
      </dgm:t>
    </dgm:pt>
    <dgm:pt modelId="{C516FB37-D890-4C82-85BC-B71EEEBB9DA0}" type="pres">
      <dgm:prSet presAssocID="{073EAE4E-A578-48CC-B37C-629FD36534DA}" presName="sibTrans" presStyleCnt="0"/>
      <dgm:spPr/>
    </dgm:pt>
    <dgm:pt modelId="{35703A2C-0BA1-42D3-9B3A-44AB65F28C79}" type="pres">
      <dgm:prSet presAssocID="{AA4CBCF3-4F88-4691-BCF1-1D3BC69541F3}" presName="node" presStyleLbl="node1" presStyleIdx="7" presStyleCnt="24">
        <dgm:presLayoutVars>
          <dgm:bulletEnabled val="1"/>
        </dgm:presLayoutVars>
      </dgm:prSet>
      <dgm:spPr/>
      <dgm:t>
        <a:bodyPr/>
        <a:lstStyle/>
        <a:p>
          <a:endParaRPr lang="en-US"/>
        </a:p>
      </dgm:t>
    </dgm:pt>
    <dgm:pt modelId="{487354EE-1AA1-4D5F-8C08-F7A318C79A4B}" type="pres">
      <dgm:prSet presAssocID="{6739091C-902B-4047-9842-2E6572212234}" presName="sibTrans" presStyleCnt="0"/>
      <dgm:spPr/>
    </dgm:pt>
    <dgm:pt modelId="{31713524-9352-44D3-92E7-067E1902F9D6}" type="pres">
      <dgm:prSet presAssocID="{960148C9-06AE-48D7-A280-7D4D9E48C7C8}" presName="node" presStyleLbl="node1" presStyleIdx="8" presStyleCnt="24">
        <dgm:presLayoutVars>
          <dgm:bulletEnabled val="1"/>
        </dgm:presLayoutVars>
      </dgm:prSet>
      <dgm:spPr/>
      <dgm:t>
        <a:bodyPr/>
        <a:lstStyle/>
        <a:p>
          <a:endParaRPr lang="en-US"/>
        </a:p>
      </dgm:t>
    </dgm:pt>
    <dgm:pt modelId="{C5836B62-5CEC-43D4-A817-955AD6B6E068}" type="pres">
      <dgm:prSet presAssocID="{73CB8064-30DB-40B7-AF9B-B95AF0902D42}" presName="sibTrans" presStyleCnt="0"/>
      <dgm:spPr/>
    </dgm:pt>
    <dgm:pt modelId="{42DBEB11-E8A0-4973-8DAB-199C9D605E4B}" type="pres">
      <dgm:prSet presAssocID="{09F45055-7DB9-413C-B515-7A03605E434A}" presName="node" presStyleLbl="node1" presStyleIdx="9" presStyleCnt="24">
        <dgm:presLayoutVars>
          <dgm:bulletEnabled val="1"/>
        </dgm:presLayoutVars>
      </dgm:prSet>
      <dgm:spPr/>
      <dgm:t>
        <a:bodyPr/>
        <a:lstStyle/>
        <a:p>
          <a:endParaRPr lang="en-US"/>
        </a:p>
      </dgm:t>
    </dgm:pt>
    <dgm:pt modelId="{736F0D03-A5E9-4810-8A73-58AA5E39DD81}" type="pres">
      <dgm:prSet presAssocID="{0A17FCC1-EB97-4CC8-B0FE-B9FB060D1559}" presName="sibTrans" presStyleCnt="0"/>
      <dgm:spPr/>
    </dgm:pt>
    <dgm:pt modelId="{70848A57-3C72-4F15-9201-194BFF1F1027}" type="pres">
      <dgm:prSet presAssocID="{F4E37B8F-D4AE-4320-AB59-2FE253BACC11}" presName="node" presStyleLbl="node1" presStyleIdx="10" presStyleCnt="24">
        <dgm:presLayoutVars>
          <dgm:bulletEnabled val="1"/>
        </dgm:presLayoutVars>
      </dgm:prSet>
      <dgm:spPr/>
      <dgm:t>
        <a:bodyPr/>
        <a:lstStyle/>
        <a:p>
          <a:endParaRPr lang="en-US"/>
        </a:p>
      </dgm:t>
    </dgm:pt>
    <dgm:pt modelId="{933433F5-E20D-47B3-8114-CC6F0B8E15CB}" type="pres">
      <dgm:prSet presAssocID="{50627151-652D-4892-B655-5C7F18566840}" presName="sibTrans" presStyleCnt="0"/>
      <dgm:spPr/>
    </dgm:pt>
    <dgm:pt modelId="{FC60770F-7F8A-4442-837D-80609253F9C1}" type="pres">
      <dgm:prSet presAssocID="{2F3E9FB0-6803-4E7C-A6A0-D0B962B02BD9}" presName="node" presStyleLbl="node1" presStyleIdx="11" presStyleCnt="24">
        <dgm:presLayoutVars>
          <dgm:bulletEnabled val="1"/>
        </dgm:presLayoutVars>
      </dgm:prSet>
      <dgm:spPr/>
      <dgm:t>
        <a:bodyPr/>
        <a:lstStyle/>
        <a:p>
          <a:endParaRPr lang="en-US"/>
        </a:p>
      </dgm:t>
    </dgm:pt>
    <dgm:pt modelId="{4F943209-A28F-4E62-A3AB-7A7B3CDCF8F9}" type="pres">
      <dgm:prSet presAssocID="{2C2A0560-A984-492F-A819-5D894229CA9A}" presName="sibTrans" presStyleCnt="0"/>
      <dgm:spPr/>
    </dgm:pt>
    <dgm:pt modelId="{404438DF-FF1C-440A-8D0F-7080E512A369}" type="pres">
      <dgm:prSet presAssocID="{86396EC6-31C7-4DEB-8754-0D894935E378}" presName="node" presStyleLbl="node1" presStyleIdx="12" presStyleCnt="24">
        <dgm:presLayoutVars>
          <dgm:bulletEnabled val="1"/>
        </dgm:presLayoutVars>
      </dgm:prSet>
      <dgm:spPr/>
      <dgm:t>
        <a:bodyPr/>
        <a:lstStyle/>
        <a:p>
          <a:endParaRPr lang="en-US"/>
        </a:p>
      </dgm:t>
    </dgm:pt>
    <dgm:pt modelId="{3FCD7FF2-7BB2-4C3C-A6A0-47E865215409}" type="pres">
      <dgm:prSet presAssocID="{88B80384-3909-4E92-B4D5-C397E5E4C481}" presName="sibTrans" presStyleCnt="0"/>
      <dgm:spPr/>
    </dgm:pt>
    <dgm:pt modelId="{9B67B0CE-F38F-418B-A7EC-421A51802F78}" type="pres">
      <dgm:prSet presAssocID="{92DCCD5C-10F9-405C-B0B9-ACF74076BEAD}" presName="node" presStyleLbl="node1" presStyleIdx="13" presStyleCnt="24">
        <dgm:presLayoutVars>
          <dgm:bulletEnabled val="1"/>
        </dgm:presLayoutVars>
      </dgm:prSet>
      <dgm:spPr/>
      <dgm:t>
        <a:bodyPr/>
        <a:lstStyle/>
        <a:p>
          <a:endParaRPr lang="en-US"/>
        </a:p>
      </dgm:t>
    </dgm:pt>
    <dgm:pt modelId="{157AE1B4-89C8-4663-A026-72E5F05A1C43}" type="pres">
      <dgm:prSet presAssocID="{A29EC2D1-B32D-4CB8-A587-8F3363422E61}" presName="sibTrans" presStyleCnt="0"/>
      <dgm:spPr/>
    </dgm:pt>
    <dgm:pt modelId="{0F76707A-50F7-4C68-8E19-7C34740227CA}" type="pres">
      <dgm:prSet presAssocID="{04F953C1-E3C8-431F-B8B3-BF0F6730E214}" presName="node" presStyleLbl="node1" presStyleIdx="14" presStyleCnt="24">
        <dgm:presLayoutVars>
          <dgm:bulletEnabled val="1"/>
        </dgm:presLayoutVars>
      </dgm:prSet>
      <dgm:spPr/>
      <dgm:t>
        <a:bodyPr/>
        <a:lstStyle/>
        <a:p>
          <a:endParaRPr lang="en-US"/>
        </a:p>
      </dgm:t>
    </dgm:pt>
    <dgm:pt modelId="{0E7DD700-09FD-473E-986D-7A03DBC63090}" type="pres">
      <dgm:prSet presAssocID="{28E27401-2B35-4067-9850-93B622995936}" presName="sibTrans" presStyleCnt="0"/>
      <dgm:spPr/>
    </dgm:pt>
    <dgm:pt modelId="{8FAE348B-597F-4294-8B62-48203D0E1D8D}" type="pres">
      <dgm:prSet presAssocID="{BECCF39F-771C-4E44-BD24-4783DBFEB4B4}" presName="node" presStyleLbl="node1" presStyleIdx="15" presStyleCnt="24">
        <dgm:presLayoutVars>
          <dgm:bulletEnabled val="1"/>
        </dgm:presLayoutVars>
      </dgm:prSet>
      <dgm:spPr/>
      <dgm:t>
        <a:bodyPr/>
        <a:lstStyle/>
        <a:p>
          <a:endParaRPr lang="en-US"/>
        </a:p>
      </dgm:t>
    </dgm:pt>
    <dgm:pt modelId="{77390E3C-3D86-4293-B4AA-8F0594B02143}" type="pres">
      <dgm:prSet presAssocID="{F47D3C3E-D564-4B24-B15E-8FF84123D157}" presName="sibTrans" presStyleCnt="0"/>
      <dgm:spPr/>
    </dgm:pt>
    <dgm:pt modelId="{DA54D0E9-9574-4614-A53E-8DFB46CB3787}" type="pres">
      <dgm:prSet presAssocID="{E50741CD-8099-443B-A95F-701CB34D9FF9}" presName="node" presStyleLbl="node1" presStyleIdx="16" presStyleCnt="24">
        <dgm:presLayoutVars>
          <dgm:bulletEnabled val="1"/>
        </dgm:presLayoutVars>
      </dgm:prSet>
      <dgm:spPr/>
      <dgm:t>
        <a:bodyPr/>
        <a:lstStyle/>
        <a:p>
          <a:endParaRPr lang="en-US"/>
        </a:p>
      </dgm:t>
    </dgm:pt>
    <dgm:pt modelId="{5331B1B2-F0D6-4668-88A9-34F335A2BA9F}" type="pres">
      <dgm:prSet presAssocID="{8AE5F397-8ADC-4A21-BFF0-F84E0FFF823A}" presName="sibTrans" presStyleCnt="0"/>
      <dgm:spPr/>
    </dgm:pt>
    <dgm:pt modelId="{8CD26E6D-EE89-42F4-A4D9-4DE3708DA827}" type="pres">
      <dgm:prSet presAssocID="{0538EBFE-BEE8-45A0-8E64-D980C7D99DB0}" presName="node" presStyleLbl="node1" presStyleIdx="17" presStyleCnt="24">
        <dgm:presLayoutVars>
          <dgm:bulletEnabled val="1"/>
        </dgm:presLayoutVars>
      </dgm:prSet>
      <dgm:spPr/>
      <dgm:t>
        <a:bodyPr/>
        <a:lstStyle/>
        <a:p>
          <a:endParaRPr lang="en-US"/>
        </a:p>
      </dgm:t>
    </dgm:pt>
    <dgm:pt modelId="{C5478124-DA81-47C0-B6BE-FC004B514BEA}" type="pres">
      <dgm:prSet presAssocID="{F384FEEF-5071-4A7E-AFC7-FA1B0EA19BB0}" presName="sibTrans" presStyleCnt="0"/>
      <dgm:spPr/>
    </dgm:pt>
    <dgm:pt modelId="{EEF73CF4-38C3-4B55-A6E6-5C8AD2C2BA43}" type="pres">
      <dgm:prSet presAssocID="{92D3A3F1-5F9E-4EBB-8C28-E93052F2F8F5}" presName="node" presStyleLbl="node1" presStyleIdx="18" presStyleCnt="24">
        <dgm:presLayoutVars>
          <dgm:bulletEnabled val="1"/>
        </dgm:presLayoutVars>
      </dgm:prSet>
      <dgm:spPr/>
      <dgm:t>
        <a:bodyPr/>
        <a:lstStyle/>
        <a:p>
          <a:endParaRPr lang="en-US"/>
        </a:p>
      </dgm:t>
    </dgm:pt>
    <dgm:pt modelId="{53E5254A-F9AD-476F-BBA0-70B9FB894AE9}" type="pres">
      <dgm:prSet presAssocID="{73AB869F-BC06-4C4F-9438-892A052F2809}" presName="sibTrans" presStyleCnt="0"/>
      <dgm:spPr/>
    </dgm:pt>
    <dgm:pt modelId="{576928BB-56B9-4DE1-A190-164F278B7CEA}" type="pres">
      <dgm:prSet presAssocID="{B8202909-0F4C-44A9-BB74-11CDC462EAAD}" presName="node" presStyleLbl="node1" presStyleIdx="19" presStyleCnt="24">
        <dgm:presLayoutVars>
          <dgm:bulletEnabled val="1"/>
        </dgm:presLayoutVars>
      </dgm:prSet>
      <dgm:spPr/>
      <dgm:t>
        <a:bodyPr/>
        <a:lstStyle/>
        <a:p>
          <a:endParaRPr lang="en-US"/>
        </a:p>
      </dgm:t>
    </dgm:pt>
    <dgm:pt modelId="{53573F1B-45C2-494E-BC73-35353E8CC772}" type="pres">
      <dgm:prSet presAssocID="{2977647F-A0BA-47A8-9CA9-D4411887E799}" presName="sibTrans" presStyleCnt="0"/>
      <dgm:spPr/>
    </dgm:pt>
    <dgm:pt modelId="{73490067-207A-42B0-81E3-7ABAE426AF0B}" type="pres">
      <dgm:prSet presAssocID="{CD31E344-8506-4EF3-925A-AA719F9ED86A}" presName="node" presStyleLbl="node1" presStyleIdx="20" presStyleCnt="24">
        <dgm:presLayoutVars>
          <dgm:bulletEnabled val="1"/>
        </dgm:presLayoutVars>
      </dgm:prSet>
      <dgm:spPr/>
      <dgm:t>
        <a:bodyPr/>
        <a:lstStyle/>
        <a:p>
          <a:endParaRPr lang="en-US"/>
        </a:p>
      </dgm:t>
    </dgm:pt>
    <dgm:pt modelId="{FE6B636B-C53C-4B6B-A89D-F4EE427ED0D4}" type="pres">
      <dgm:prSet presAssocID="{B1C4F099-1F1B-4048-B053-A07108776888}" presName="sibTrans" presStyleCnt="0"/>
      <dgm:spPr/>
    </dgm:pt>
    <dgm:pt modelId="{7157CB8A-EFE2-44D1-AA04-33C8F8041E32}" type="pres">
      <dgm:prSet presAssocID="{CD8766B4-0ECE-4121-99EA-6E2FB02F2A41}" presName="node" presStyleLbl="node1" presStyleIdx="21" presStyleCnt="24">
        <dgm:presLayoutVars>
          <dgm:bulletEnabled val="1"/>
        </dgm:presLayoutVars>
      </dgm:prSet>
      <dgm:spPr/>
      <dgm:t>
        <a:bodyPr/>
        <a:lstStyle/>
        <a:p>
          <a:endParaRPr lang="en-US"/>
        </a:p>
      </dgm:t>
    </dgm:pt>
    <dgm:pt modelId="{E0C41257-A462-4E82-9F85-F818F55C24BF}" type="pres">
      <dgm:prSet presAssocID="{2DF40351-6F69-4D04-914D-592DEA2C8C02}" presName="sibTrans" presStyleCnt="0"/>
      <dgm:spPr/>
    </dgm:pt>
    <dgm:pt modelId="{F7C34D32-17C3-4099-BAD8-AF138A90D367}" type="pres">
      <dgm:prSet presAssocID="{11D03B51-B797-43C7-976E-E9DB7AE8C266}" presName="node" presStyleLbl="node1" presStyleIdx="22" presStyleCnt="24">
        <dgm:presLayoutVars>
          <dgm:bulletEnabled val="1"/>
        </dgm:presLayoutVars>
      </dgm:prSet>
      <dgm:spPr/>
      <dgm:t>
        <a:bodyPr/>
        <a:lstStyle/>
        <a:p>
          <a:endParaRPr lang="en-US"/>
        </a:p>
      </dgm:t>
    </dgm:pt>
    <dgm:pt modelId="{3FC916BC-4F93-47AF-AE1E-C375E6344DEF}" type="pres">
      <dgm:prSet presAssocID="{488D7C4F-3F6E-4C9F-B661-2B0B7747D3FD}" presName="sibTrans" presStyleCnt="0"/>
      <dgm:spPr/>
    </dgm:pt>
    <dgm:pt modelId="{6BFABF5A-B274-4396-8804-F336A95787D1}" type="pres">
      <dgm:prSet presAssocID="{C15E5F78-2DEB-400B-9A5C-BA3552E9042F}" presName="node" presStyleLbl="node1" presStyleIdx="23" presStyleCnt="24">
        <dgm:presLayoutVars>
          <dgm:bulletEnabled val="1"/>
        </dgm:presLayoutVars>
      </dgm:prSet>
      <dgm:spPr/>
      <dgm:t>
        <a:bodyPr/>
        <a:lstStyle/>
        <a:p>
          <a:endParaRPr lang="en-US"/>
        </a:p>
      </dgm:t>
    </dgm:pt>
  </dgm:ptLst>
  <dgm:cxnLst>
    <dgm:cxn modelId="{83B1C7D6-9A13-40BA-909B-B5F75FC46648}" srcId="{EA448226-103A-4680-8B03-3B83FDFF835B}" destId="{C1074E64-92CD-42B6-A7E5-DD32F581CB71}" srcOrd="5" destOrd="0" parTransId="{7B210794-E3D6-47D4-B492-609C39EC1EBD}" sibTransId="{A38D0951-45B2-4930-AFA0-DEE987ADDEEA}"/>
    <dgm:cxn modelId="{9635D63F-9007-439D-A3B8-638B550001F6}" srcId="{EA448226-103A-4680-8B03-3B83FDFF835B}" destId="{C15E5F78-2DEB-400B-9A5C-BA3552E9042F}" srcOrd="23" destOrd="0" parTransId="{390B1EBC-F6DB-424D-8BC8-65EABC80247E}" sibTransId="{4EC0AD09-4BA6-45A8-A41E-0563557A8B6A}"/>
    <dgm:cxn modelId="{46FFEDF5-B860-4707-9DD6-43C9DB21277D}" type="presOf" srcId="{CD8766B4-0ECE-4121-99EA-6E2FB02F2A41}" destId="{7157CB8A-EFE2-44D1-AA04-33C8F8041E32}" srcOrd="0" destOrd="0" presId="urn:microsoft.com/office/officeart/2005/8/layout/default"/>
    <dgm:cxn modelId="{A426CFCA-1001-407F-B8BA-82C9028E6266}" type="presOf" srcId="{F4E37B8F-D4AE-4320-AB59-2FE253BACC11}" destId="{70848A57-3C72-4F15-9201-194BFF1F1027}" srcOrd="0" destOrd="0" presId="urn:microsoft.com/office/officeart/2005/8/layout/default"/>
    <dgm:cxn modelId="{BA189B72-8D2B-4AE5-8786-D2CC3606D81A}" srcId="{EA448226-103A-4680-8B03-3B83FDFF835B}" destId="{B8202909-0F4C-44A9-BB74-11CDC462EAAD}" srcOrd="19" destOrd="0" parTransId="{0FDD6DAA-7CAB-434A-B35B-800D0FDD6BAE}" sibTransId="{2977647F-A0BA-47A8-9CA9-D4411887E799}"/>
    <dgm:cxn modelId="{9023987D-32B7-4096-8A3B-3BDFF95EE07E}" type="presOf" srcId="{083E544B-AA80-40B1-964B-168C2C37F8A4}" destId="{7D1383BB-20F0-40D9-963E-AA1D48048BDC}" srcOrd="0" destOrd="0" presId="urn:microsoft.com/office/officeart/2005/8/layout/default"/>
    <dgm:cxn modelId="{9A219AF2-5C25-4A98-9DA3-BF979489C589}" srcId="{EA448226-103A-4680-8B03-3B83FDFF835B}" destId="{09F45055-7DB9-413C-B515-7A03605E434A}" srcOrd="9" destOrd="0" parTransId="{8B938006-E89F-4A61-9A01-D4A91E9A9B4E}" sibTransId="{0A17FCC1-EB97-4CC8-B0FE-B9FB060D1559}"/>
    <dgm:cxn modelId="{33E22B95-0E81-4D72-98B5-AECC6D115BEB}" srcId="{EA448226-103A-4680-8B03-3B83FDFF835B}" destId="{2F3E9FB0-6803-4E7C-A6A0-D0B962B02BD9}" srcOrd="11" destOrd="0" parTransId="{AA8110A6-84CF-450B-850D-05F66F764943}" sibTransId="{2C2A0560-A984-492F-A819-5D894229CA9A}"/>
    <dgm:cxn modelId="{536C466C-9E4C-491F-A7D8-10911B88AD83}" type="presOf" srcId="{09F45055-7DB9-413C-B515-7A03605E434A}" destId="{42DBEB11-E8A0-4973-8DAB-199C9D605E4B}" srcOrd="0" destOrd="0" presId="urn:microsoft.com/office/officeart/2005/8/layout/default"/>
    <dgm:cxn modelId="{ABA64CF9-8FBF-41C6-B63E-252EE3DEB660}" type="presOf" srcId="{92DCCD5C-10F9-405C-B0B9-ACF74076BEAD}" destId="{9B67B0CE-F38F-418B-A7EC-421A51802F78}" srcOrd="0" destOrd="0" presId="urn:microsoft.com/office/officeart/2005/8/layout/default"/>
    <dgm:cxn modelId="{97D9950D-CA13-4325-90B8-6393139FC584}" srcId="{EA448226-103A-4680-8B03-3B83FDFF835B}" destId="{92DCCD5C-10F9-405C-B0B9-ACF74076BEAD}" srcOrd="13" destOrd="0" parTransId="{11F38036-2120-4E8F-8671-ABEE9EC2ACBF}" sibTransId="{A29EC2D1-B32D-4CB8-A587-8F3363422E61}"/>
    <dgm:cxn modelId="{5E926BA8-793A-4D5C-AAE1-11AFE782492E}" type="presOf" srcId="{92D3A3F1-5F9E-4EBB-8C28-E93052F2F8F5}" destId="{EEF73CF4-38C3-4B55-A6E6-5C8AD2C2BA43}" srcOrd="0" destOrd="0" presId="urn:microsoft.com/office/officeart/2005/8/layout/default"/>
    <dgm:cxn modelId="{E5BD610B-8E12-4B78-A32E-BF258A894BD3}" type="presOf" srcId="{A1F68132-5174-40D8-9E71-0FDE3DA0E8DB}" destId="{3DD162FE-6C02-4E38-85F2-352620DBF582}" srcOrd="0" destOrd="0" presId="urn:microsoft.com/office/officeart/2005/8/layout/default"/>
    <dgm:cxn modelId="{63F99716-5F03-4B5B-916F-59864AF930FC}" srcId="{EA448226-103A-4680-8B03-3B83FDFF835B}" destId="{11D03B51-B797-43C7-976E-E9DB7AE8C266}" srcOrd="22" destOrd="0" parTransId="{4FDF40AD-A255-40DD-964A-1BFD587D0D75}" sibTransId="{488D7C4F-3F6E-4C9F-B661-2B0B7747D3FD}"/>
    <dgm:cxn modelId="{BEA6FEB8-5F4A-4F49-8CEA-B3161D38F37A}" srcId="{EA448226-103A-4680-8B03-3B83FDFF835B}" destId="{CD31E344-8506-4EF3-925A-AA719F9ED86A}" srcOrd="20" destOrd="0" parTransId="{C73C07CD-6FD5-49D0-8AD4-785EC91940D9}" sibTransId="{B1C4F099-1F1B-4048-B053-A07108776888}"/>
    <dgm:cxn modelId="{FE74DC06-01D7-41E7-8F18-32442490FD91}" type="presOf" srcId="{C15E5F78-2DEB-400B-9A5C-BA3552E9042F}" destId="{6BFABF5A-B274-4396-8804-F336A95787D1}" srcOrd="0" destOrd="0" presId="urn:microsoft.com/office/officeart/2005/8/layout/default"/>
    <dgm:cxn modelId="{E9FD8EBD-1F2B-4EE3-B270-4290029C58CC}" srcId="{EA448226-103A-4680-8B03-3B83FDFF835B}" destId="{F2A27B1E-C710-48BF-B1A1-AE6AC913B8C9}" srcOrd="0" destOrd="0" parTransId="{99D67A6B-527F-4E69-A891-82084F1AAE6F}" sibTransId="{9F58D694-AD15-4769-AA0D-094C6E90DB5D}"/>
    <dgm:cxn modelId="{D4349D18-D471-4206-B9FA-028480A6291F}" srcId="{EA448226-103A-4680-8B03-3B83FDFF835B}" destId="{F4E37B8F-D4AE-4320-AB59-2FE253BACC11}" srcOrd="10" destOrd="0" parTransId="{B9A36E64-DE3D-4739-B2FB-6CECB6ABE59F}" sibTransId="{50627151-652D-4892-B655-5C7F18566840}"/>
    <dgm:cxn modelId="{AA47777E-2910-438A-8F25-077F0F9D33B6}" type="presOf" srcId="{04F953C1-E3C8-431F-B8B3-BF0F6730E214}" destId="{0F76707A-50F7-4C68-8E19-7C34740227CA}" srcOrd="0" destOrd="0" presId="urn:microsoft.com/office/officeart/2005/8/layout/default"/>
    <dgm:cxn modelId="{72537D02-E98F-4F5F-8EAD-70BA4185FFD8}" type="presOf" srcId="{F2A27B1E-C710-48BF-B1A1-AE6AC913B8C9}" destId="{99745159-85EA-4513-AC90-641856392E6E}" srcOrd="0" destOrd="0" presId="urn:microsoft.com/office/officeart/2005/8/layout/default"/>
    <dgm:cxn modelId="{299AE7CF-B43A-482B-89A5-42F63464DF40}" srcId="{EA448226-103A-4680-8B03-3B83FDFF835B}" destId="{A07D303C-B499-413C-A1BE-F91BF547DD08}" srcOrd="2" destOrd="0" parTransId="{63E2DA32-A840-44CD-A32A-8D814AD8F77E}" sibTransId="{AAA79200-30ED-4019-83B6-7A50696D6E72}"/>
    <dgm:cxn modelId="{0E78D9E8-8F04-4FD8-AF8C-87BDC3EAB18F}" type="presOf" srcId="{11D03B51-B797-43C7-976E-E9DB7AE8C266}" destId="{F7C34D32-17C3-4099-BAD8-AF138A90D367}" srcOrd="0" destOrd="0" presId="urn:microsoft.com/office/officeart/2005/8/layout/default"/>
    <dgm:cxn modelId="{0E1BC300-E272-4E8B-B8CF-5BFD8CE6750D}" type="presOf" srcId="{CD31E344-8506-4EF3-925A-AA719F9ED86A}" destId="{73490067-207A-42B0-81E3-7ABAE426AF0B}" srcOrd="0" destOrd="0" presId="urn:microsoft.com/office/officeart/2005/8/layout/default"/>
    <dgm:cxn modelId="{F37D8971-21BB-489D-B392-D30C90AEC0CA}" type="presOf" srcId="{E50741CD-8099-443B-A95F-701CB34D9FF9}" destId="{DA54D0E9-9574-4614-A53E-8DFB46CB3787}" srcOrd="0" destOrd="0" presId="urn:microsoft.com/office/officeart/2005/8/layout/default"/>
    <dgm:cxn modelId="{DFE25CC7-7D9E-457C-B6DB-2EC09C9B1F33}" type="presOf" srcId="{AA4CBCF3-4F88-4691-BCF1-1D3BC69541F3}" destId="{35703A2C-0BA1-42D3-9B3A-44AB65F28C79}" srcOrd="0" destOrd="0" presId="urn:microsoft.com/office/officeart/2005/8/layout/default"/>
    <dgm:cxn modelId="{4F394E4D-72D0-481C-B4A1-E7B4E2EFDA24}" srcId="{EA448226-103A-4680-8B03-3B83FDFF835B}" destId="{92D3A3F1-5F9E-4EBB-8C28-E93052F2F8F5}" srcOrd="18" destOrd="0" parTransId="{253C0A7E-2376-43AE-82CB-BFC790B1FC88}" sibTransId="{73AB869F-BC06-4C4F-9438-892A052F2809}"/>
    <dgm:cxn modelId="{5569BFA8-AD4A-44A3-8BD4-AFEA77BB8A68}" type="presOf" srcId="{B8202909-0F4C-44A9-BB74-11CDC462EAAD}" destId="{576928BB-56B9-4DE1-A190-164F278B7CEA}" srcOrd="0" destOrd="0" presId="urn:microsoft.com/office/officeart/2005/8/layout/default"/>
    <dgm:cxn modelId="{D95292E9-DC5C-40B8-B421-C13355F0345C}" type="presOf" srcId="{EA448226-103A-4680-8B03-3B83FDFF835B}" destId="{49E0AC6B-4A4E-47DB-AAA5-A5DE36E84338}" srcOrd="0" destOrd="0" presId="urn:microsoft.com/office/officeart/2005/8/layout/default"/>
    <dgm:cxn modelId="{B7027103-CA83-4417-8990-5B772FB98192}" srcId="{EA448226-103A-4680-8B03-3B83FDFF835B}" destId="{BECCF39F-771C-4E44-BD24-4783DBFEB4B4}" srcOrd="15" destOrd="0" parTransId="{425A6583-DD5A-4E8D-8C83-BF8C8BF1FF27}" sibTransId="{F47D3C3E-D564-4B24-B15E-8FF84123D157}"/>
    <dgm:cxn modelId="{894FA8D1-6AE7-4F3C-810D-98A446C67F20}" srcId="{EA448226-103A-4680-8B03-3B83FDFF835B}" destId="{86396EC6-31C7-4DEB-8754-0D894935E378}" srcOrd="12" destOrd="0" parTransId="{674E3AB3-3F31-4783-B2AE-6379463F8861}" sibTransId="{88B80384-3909-4E92-B4D5-C397E5E4C481}"/>
    <dgm:cxn modelId="{7BA34AC1-8FE6-4245-B5A0-4A55791EE884}" srcId="{EA448226-103A-4680-8B03-3B83FDFF835B}" destId="{A327F4B7-67CD-4ED1-B8D1-2045F910CD30}" srcOrd="3" destOrd="0" parTransId="{E0E61D1D-1E9C-4C2F-83E1-3FCD1E4CCA1E}" sibTransId="{6978ACF1-123A-4E37-A1A2-4BE2B06B27D2}"/>
    <dgm:cxn modelId="{49EC0428-074E-4739-B3A1-446EEBBC8C70}" type="presOf" srcId="{A07D303C-B499-413C-A1BE-F91BF547DD08}" destId="{0ECB882E-1A5A-4446-920A-BBF41DFFAFC2}" srcOrd="0" destOrd="0" presId="urn:microsoft.com/office/officeart/2005/8/layout/default"/>
    <dgm:cxn modelId="{9FAEDBBC-8D6F-42EA-B277-00CC28DECCCD}" srcId="{EA448226-103A-4680-8B03-3B83FDFF835B}" destId="{083E544B-AA80-40B1-964B-168C2C37F8A4}" srcOrd="4" destOrd="0" parTransId="{61D9ED38-414D-43A3-93E0-B82BCD1B6CB9}" sibTransId="{2FB81028-C5A1-4505-A2D5-5EB701B3EA8D}"/>
    <dgm:cxn modelId="{FB478E82-E334-487F-9269-46CE439DF956}" type="presOf" srcId="{C1074E64-92CD-42B6-A7E5-DD32F581CB71}" destId="{85C76485-9DDB-4113-BE7B-C729F36529B9}" srcOrd="0" destOrd="0" presId="urn:microsoft.com/office/officeart/2005/8/layout/default"/>
    <dgm:cxn modelId="{DCA080EC-5888-4505-AE4D-ACF5C6C7E2AC}" type="presOf" srcId="{2E73FA4C-E677-474D-AD07-11DF0F170C0A}" destId="{C9E1542C-57CE-4A71-A3B7-45CFA110E390}" srcOrd="0" destOrd="0" presId="urn:microsoft.com/office/officeart/2005/8/layout/default"/>
    <dgm:cxn modelId="{A5EF4B1A-45DE-44F6-984D-BB4A4EB38600}" type="presOf" srcId="{86396EC6-31C7-4DEB-8754-0D894935E378}" destId="{404438DF-FF1C-440A-8D0F-7080E512A369}" srcOrd="0" destOrd="0" presId="urn:microsoft.com/office/officeart/2005/8/layout/default"/>
    <dgm:cxn modelId="{D5B7ED0E-A136-4161-9F23-BD2EE58097D0}" type="presOf" srcId="{2F3E9FB0-6803-4E7C-A6A0-D0B962B02BD9}" destId="{FC60770F-7F8A-4442-837D-80609253F9C1}" srcOrd="0" destOrd="0" presId="urn:microsoft.com/office/officeart/2005/8/layout/default"/>
    <dgm:cxn modelId="{EC0758B5-0B36-4610-A4DE-6D5DA81686BA}" srcId="{EA448226-103A-4680-8B03-3B83FDFF835B}" destId="{04F953C1-E3C8-431F-B8B3-BF0F6730E214}" srcOrd="14" destOrd="0" parTransId="{C21E9741-3B3D-4529-98F7-26209F2C218B}" sibTransId="{28E27401-2B35-4067-9850-93B622995936}"/>
    <dgm:cxn modelId="{B5BBBF96-0AAF-4A69-AB6E-55F8BD618616}" srcId="{EA448226-103A-4680-8B03-3B83FDFF835B}" destId="{CD8766B4-0ECE-4121-99EA-6E2FB02F2A41}" srcOrd="21" destOrd="0" parTransId="{E8EF256E-3CA8-4F87-BFA2-F1884691C193}" sibTransId="{2DF40351-6F69-4D04-914D-592DEA2C8C02}"/>
    <dgm:cxn modelId="{B57E2CC4-1D21-47B2-999A-B39C61B1084E}" srcId="{EA448226-103A-4680-8B03-3B83FDFF835B}" destId="{0538EBFE-BEE8-45A0-8E64-D980C7D99DB0}" srcOrd="17" destOrd="0" parTransId="{857C12DB-4317-4A2A-BEC8-A49190F585CD}" sibTransId="{F384FEEF-5071-4A7E-AFC7-FA1B0EA19BB0}"/>
    <dgm:cxn modelId="{8AEA247E-D409-4989-B199-DEA7A625C88A}" srcId="{EA448226-103A-4680-8B03-3B83FDFF835B}" destId="{A1F68132-5174-40D8-9E71-0FDE3DA0E8DB}" srcOrd="1" destOrd="0" parTransId="{C88F59B5-4526-490E-850E-FD3447183734}" sibTransId="{22BF6BB0-FF54-4DD2-8C12-DBDF1092E7E5}"/>
    <dgm:cxn modelId="{AF6C8BBD-1D42-4CF4-B948-98CC196A59B3}" type="presOf" srcId="{960148C9-06AE-48D7-A280-7D4D9E48C7C8}" destId="{31713524-9352-44D3-92E7-067E1902F9D6}" srcOrd="0" destOrd="0" presId="urn:microsoft.com/office/officeart/2005/8/layout/default"/>
    <dgm:cxn modelId="{A83AD7E4-5B0C-4CFC-87C6-93AC41775487}" type="presOf" srcId="{A327F4B7-67CD-4ED1-B8D1-2045F910CD30}" destId="{9DE32003-DEA0-4602-A9DB-0C51115A93DE}" srcOrd="0" destOrd="0" presId="urn:microsoft.com/office/officeart/2005/8/layout/default"/>
    <dgm:cxn modelId="{78A93321-177B-4840-95AF-35A58F088CF4}" type="presOf" srcId="{0538EBFE-BEE8-45A0-8E64-D980C7D99DB0}" destId="{8CD26E6D-EE89-42F4-A4D9-4DE3708DA827}" srcOrd="0" destOrd="0" presId="urn:microsoft.com/office/officeart/2005/8/layout/default"/>
    <dgm:cxn modelId="{DDF356E0-FEF5-45AC-B726-B85033993C62}" type="presOf" srcId="{BECCF39F-771C-4E44-BD24-4783DBFEB4B4}" destId="{8FAE348B-597F-4294-8B62-48203D0E1D8D}" srcOrd="0" destOrd="0" presId="urn:microsoft.com/office/officeart/2005/8/layout/default"/>
    <dgm:cxn modelId="{7FA86F9A-00E1-4816-A6DE-FEED565E7B02}" srcId="{EA448226-103A-4680-8B03-3B83FDFF835B}" destId="{960148C9-06AE-48D7-A280-7D4D9E48C7C8}" srcOrd="8" destOrd="0" parTransId="{D25FE130-70F1-46D9-AD27-A4DD50779777}" sibTransId="{73CB8064-30DB-40B7-AF9B-B95AF0902D42}"/>
    <dgm:cxn modelId="{B24A929C-C846-4F8E-8DC1-FDA6FED58100}" srcId="{EA448226-103A-4680-8B03-3B83FDFF835B}" destId="{2E73FA4C-E677-474D-AD07-11DF0F170C0A}" srcOrd="6" destOrd="0" parTransId="{C17E37BC-B2B8-424A-8BDC-770EC1746BA1}" sibTransId="{073EAE4E-A578-48CC-B37C-629FD36534DA}"/>
    <dgm:cxn modelId="{B5FC3373-5725-4C92-9D16-D1138711C927}" srcId="{EA448226-103A-4680-8B03-3B83FDFF835B}" destId="{E50741CD-8099-443B-A95F-701CB34D9FF9}" srcOrd="16" destOrd="0" parTransId="{AEEAB145-B56F-4990-897B-4D500E11FFB0}" sibTransId="{8AE5F397-8ADC-4A21-BFF0-F84E0FFF823A}"/>
    <dgm:cxn modelId="{0C06485E-F11E-459C-ABD1-BAD34790F0B9}" srcId="{EA448226-103A-4680-8B03-3B83FDFF835B}" destId="{AA4CBCF3-4F88-4691-BCF1-1D3BC69541F3}" srcOrd="7" destOrd="0" parTransId="{0EFB9038-B2A1-4C03-9C97-F1DEED546ADB}" sibTransId="{6739091C-902B-4047-9842-2E6572212234}"/>
    <dgm:cxn modelId="{6A34AA27-AA3B-43E6-A71D-4AF95FCE234A}" type="presParOf" srcId="{49E0AC6B-4A4E-47DB-AAA5-A5DE36E84338}" destId="{99745159-85EA-4513-AC90-641856392E6E}" srcOrd="0" destOrd="0" presId="urn:microsoft.com/office/officeart/2005/8/layout/default"/>
    <dgm:cxn modelId="{AFC23F24-813A-410E-8023-C2D485B5A900}" type="presParOf" srcId="{49E0AC6B-4A4E-47DB-AAA5-A5DE36E84338}" destId="{5D8FDCF2-5A1B-46D4-B8FE-5F667854C1F7}" srcOrd="1" destOrd="0" presId="urn:microsoft.com/office/officeart/2005/8/layout/default"/>
    <dgm:cxn modelId="{4F441F1B-0FE7-4F7D-B51F-66458303D8EF}" type="presParOf" srcId="{49E0AC6B-4A4E-47DB-AAA5-A5DE36E84338}" destId="{3DD162FE-6C02-4E38-85F2-352620DBF582}" srcOrd="2" destOrd="0" presId="urn:microsoft.com/office/officeart/2005/8/layout/default"/>
    <dgm:cxn modelId="{00397F20-CE6D-4E31-84B4-8659E6EA1D76}" type="presParOf" srcId="{49E0AC6B-4A4E-47DB-AAA5-A5DE36E84338}" destId="{B93FCCA8-899A-4475-933D-E4515E4E8050}" srcOrd="3" destOrd="0" presId="urn:microsoft.com/office/officeart/2005/8/layout/default"/>
    <dgm:cxn modelId="{92BB63D8-FF92-4C64-A34C-D31573EE76A8}" type="presParOf" srcId="{49E0AC6B-4A4E-47DB-AAA5-A5DE36E84338}" destId="{0ECB882E-1A5A-4446-920A-BBF41DFFAFC2}" srcOrd="4" destOrd="0" presId="urn:microsoft.com/office/officeart/2005/8/layout/default"/>
    <dgm:cxn modelId="{243AEE31-8758-4A49-AD5A-926F51C93CBC}" type="presParOf" srcId="{49E0AC6B-4A4E-47DB-AAA5-A5DE36E84338}" destId="{CA6015A0-E1A0-4BE2-9676-50DE8A024F87}" srcOrd="5" destOrd="0" presId="urn:microsoft.com/office/officeart/2005/8/layout/default"/>
    <dgm:cxn modelId="{24E16A67-543A-427C-91FA-B0A1FB635C5F}" type="presParOf" srcId="{49E0AC6B-4A4E-47DB-AAA5-A5DE36E84338}" destId="{9DE32003-DEA0-4602-A9DB-0C51115A93DE}" srcOrd="6" destOrd="0" presId="urn:microsoft.com/office/officeart/2005/8/layout/default"/>
    <dgm:cxn modelId="{1454DB7F-0C00-4781-A66E-4608086E0A42}" type="presParOf" srcId="{49E0AC6B-4A4E-47DB-AAA5-A5DE36E84338}" destId="{9AC4BF1C-643D-4127-9E8D-7977CADDAD83}" srcOrd="7" destOrd="0" presId="urn:microsoft.com/office/officeart/2005/8/layout/default"/>
    <dgm:cxn modelId="{0D346258-95B3-4BFD-B67E-42BC7E47026D}" type="presParOf" srcId="{49E0AC6B-4A4E-47DB-AAA5-A5DE36E84338}" destId="{7D1383BB-20F0-40D9-963E-AA1D48048BDC}" srcOrd="8" destOrd="0" presId="urn:microsoft.com/office/officeart/2005/8/layout/default"/>
    <dgm:cxn modelId="{C052A96E-25F5-420A-8070-A8B6C39E18AF}" type="presParOf" srcId="{49E0AC6B-4A4E-47DB-AAA5-A5DE36E84338}" destId="{0235F88E-C06D-4145-9CF2-1546133BDAAE}" srcOrd="9" destOrd="0" presId="urn:microsoft.com/office/officeart/2005/8/layout/default"/>
    <dgm:cxn modelId="{B9A98154-CDBC-49B0-AE04-43E86F8EECE1}" type="presParOf" srcId="{49E0AC6B-4A4E-47DB-AAA5-A5DE36E84338}" destId="{85C76485-9DDB-4113-BE7B-C729F36529B9}" srcOrd="10" destOrd="0" presId="urn:microsoft.com/office/officeart/2005/8/layout/default"/>
    <dgm:cxn modelId="{2BB912B3-AE79-4D6E-A639-123FD96EF66D}" type="presParOf" srcId="{49E0AC6B-4A4E-47DB-AAA5-A5DE36E84338}" destId="{13D581B4-8045-4441-BE92-6CC119053E48}" srcOrd="11" destOrd="0" presId="urn:microsoft.com/office/officeart/2005/8/layout/default"/>
    <dgm:cxn modelId="{0DFDE0E4-77BE-4F8F-9582-00067C840D6F}" type="presParOf" srcId="{49E0AC6B-4A4E-47DB-AAA5-A5DE36E84338}" destId="{C9E1542C-57CE-4A71-A3B7-45CFA110E390}" srcOrd="12" destOrd="0" presId="urn:microsoft.com/office/officeart/2005/8/layout/default"/>
    <dgm:cxn modelId="{D79B4EAA-3A49-4A7B-A06D-E4D1E8E384A8}" type="presParOf" srcId="{49E0AC6B-4A4E-47DB-AAA5-A5DE36E84338}" destId="{C516FB37-D890-4C82-85BC-B71EEEBB9DA0}" srcOrd="13" destOrd="0" presId="urn:microsoft.com/office/officeart/2005/8/layout/default"/>
    <dgm:cxn modelId="{FA17A7F4-985B-4B51-ACBB-45A811A8713F}" type="presParOf" srcId="{49E0AC6B-4A4E-47DB-AAA5-A5DE36E84338}" destId="{35703A2C-0BA1-42D3-9B3A-44AB65F28C79}" srcOrd="14" destOrd="0" presId="urn:microsoft.com/office/officeart/2005/8/layout/default"/>
    <dgm:cxn modelId="{21DCB6F1-76A7-4AE4-B513-4E756DE15684}" type="presParOf" srcId="{49E0AC6B-4A4E-47DB-AAA5-A5DE36E84338}" destId="{487354EE-1AA1-4D5F-8C08-F7A318C79A4B}" srcOrd="15" destOrd="0" presId="urn:microsoft.com/office/officeart/2005/8/layout/default"/>
    <dgm:cxn modelId="{D2FF7305-4AFB-4EC0-8B8C-7B45CACCF6B7}" type="presParOf" srcId="{49E0AC6B-4A4E-47DB-AAA5-A5DE36E84338}" destId="{31713524-9352-44D3-92E7-067E1902F9D6}" srcOrd="16" destOrd="0" presId="urn:microsoft.com/office/officeart/2005/8/layout/default"/>
    <dgm:cxn modelId="{464496D8-8C4C-4C27-8177-B3F0DD16888D}" type="presParOf" srcId="{49E0AC6B-4A4E-47DB-AAA5-A5DE36E84338}" destId="{C5836B62-5CEC-43D4-A817-955AD6B6E068}" srcOrd="17" destOrd="0" presId="urn:microsoft.com/office/officeart/2005/8/layout/default"/>
    <dgm:cxn modelId="{B2DE21DA-B5AE-4DE7-B238-7A1F8D34B853}" type="presParOf" srcId="{49E0AC6B-4A4E-47DB-AAA5-A5DE36E84338}" destId="{42DBEB11-E8A0-4973-8DAB-199C9D605E4B}" srcOrd="18" destOrd="0" presId="urn:microsoft.com/office/officeart/2005/8/layout/default"/>
    <dgm:cxn modelId="{1457DA0B-55EC-4E65-935B-156125ABF343}" type="presParOf" srcId="{49E0AC6B-4A4E-47DB-AAA5-A5DE36E84338}" destId="{736F0D03-A5E9-4810-8A73-58AA5E39DD81}" srcOrd="19" destOrd="0" presId="urn:microsoft.com/office/officeart/2005/8/layout/default"/>
    <dgm:cxn modelId="{F6838B92-B2BF-40C0-BB43-50025AA8AEAD}" type="presParOf" srcId="{49E0AC6B-4A4E-47DB-AAA5-A5DE36E84338}" destId="{70848A57-3C72-4F15-9201-194BFF1F1027}" srcOrd="20" destOrd="0" presId="urn:microsoft.com/office/officeart/2005/8/layout/default"/>
    <dgm:cxn modelId="{522250B8-0475-4748-B70F-B1C8141E9CC1}" type="presParOf" srcId="{49E0AC6B-4A4E-47DB-AAA5-A5DE36E84338}" destId="{933433F5-E20D-47B3-8114-CC6F0B8E15CB}" srcOrd="21" destOrd="0" presId="urn:microsoft.com/office/officeart/2005/8/layout/default"/>
    <dgm:cxn modelId="{DC9378E5-36E1-4612-AF0D-BFFCF537DAC7}" type="presParOf" srcId="{49E0AC6B-4A4E-47DB-AAA5-A5DE36E84338}" destId="{FC60770F-7F8A-4442-837D-80609253F9C1}" srcOrd="22" destOrd="0" presId="urn:microsoft.com/office/officeart/2005/8/layout/default"/>
    <dgm:cxn modelId="{DB093520-E3DF-4A97-AAB0-CD2C0B8F63B1}" type="presParOf" srcId="{49E0AC6B-4A4E-47DB-AAA5-A5DE36E84338}" destId="{4F943209-A28F-4E62-A3AB-7A7B3CDCF8F9}" srcOrd="23" destOrd="0" presId="urn:microsoft.com/office/officeart/2005/8/layout/default"/>
    <dgm:cxn modelId="{47234258-C256-43ED-880E-CAF6288D33E7}" type="presParOf" srcId="{49E0AC6B-4A4E-47DB-AAA5-A5DE36E84338}" destId="{404438DF-FF1C-440A-8D0F-7080E512A369}" srcOrd="24" destOrd="0" presId="urn:microsoft.com/office/officeart/2005/8/layout/default"/>
    <dgm:cxn modelId="{EEF323EE-FD61-4075-B93D-41E88DB46691}" type="presParOf" srcId="{49E0AC6B-4A4E-47DB-AAA5-A5DE36E84338}" destId="{3FCD7FF2-7BB2-4C3C-A6A0-47E865215409}" srcOrd="25" destOrd="0" presId="urn:microsoft.com/office/officeart/2005/8/layout/default"/>
    <dgm:cxn modelId="{FEC372F0-CB71-4E0D-9F02-514FBF7F8628}" type="presParOf" srcId="{49E0AC6B-4A4E-47DB-AAA5-A5DE36E84338}" destId="{9B67B0CE-F38F-418B-A7EC-421A51802F78}" srcOrd="26" destOrd="0" presId="urn:microsoft.com/office/officeart/2005/8/layout/default"/>
    <dgm:cxn modelId="{8FE80E17-8842-471F-A2FE-54212EFAF506}" type="presParOf" srcId="{49E0AC6B-4A4E-47DB-AAA5-A5DE36E84338}" destId="{157AE1B4-89C8-4663-A026-72E5F05A1C43}" srcOrd="27" destOrd="0" presId="urn:microsoft.com/office/officeart/2005/8/layout/default"/>
    <dgm:cxn modelId="{9D6F28A0-5A75-456E-B838-CDBFF5C7B1F8}" type="presParOf" srcId="{49E0AC6B-4A4E-47DB-AAA5-A5DE36E84338}" destId="{0F76707A-50F7-4C68-8E19-7C34740227CA}" srcOrd="28" destOrd="0" presId="urn:microsoft.com/office/officeart/2005/8/layout/default"/>
    <dgm:cxn modelId="{AE2C73AF-0D58-4BBB-80E9-29C456725F31}" type="presParOf" srcId="{49E0AC6B-4A4E-47DB-AAA5-A5DE36E84338}" destId="{0E7DD700-09FD-473E-986D-7A03DBC63090}" srcOrd="29" destOrd="0" presId="urn:microsoft.com/office/officeart/2005/8/layout/default"/>
    <dgm:cxn modelId="{5F69A188-8C52-401A-BE2C-D5DECBB1F92A}" type="presParOf" srcId="{49E0AC6B-4A4E-47DB-AAA5-A5DE36E84338}" destId="{8FAE348B-597F-4294-8B62-48203D0E1D8D}" srcOrd="30" destOrd="0" presId="urn:microsoft.com/office/officeart/2005/8/layout/default"/>
    <dgm:cxn modelId="{8A03D576-ABC2-4ADE-A4A4-C3F204B18CD7}" type="presParOf" srcId="{49E0AC6B-4A4E-47DB-AAA5-A5DE36E84338}" destId="{77390E3C-3D86-4293-B4AA-8F0594B02143}" srcOrd="31" destOrd="0" presId="urn:microsoft.com/office/officeart/2005/8/layout/default"/>
    <dgm:cxn modelId="{69BC03E0-4A8A-44D7-BBE6-EBBA159D9985}" type="presParOf" srcId="{49E0AC6B-4A4E-47DB-AAA5-A5DE36E84338}" destId="{DA54D0E9-9574-4614-A53E-8DFB46CB3787}" srcOrd="32" destOrd="0" presId="urn:microsoft.com/office/officeart/2005/8/layout/default"/>
    <dgm:cxn modelId="{B4CD7B80-F453-4999-8C91-F8BC22C2B323}" type="presParOf" srcId="{49E0AC6B-4A4E-47DB-AAA5-A5DE36E84338}" destId="{5331B1B2-F0D6-4668-88A9-34F335A2BA9F}" srcOrd="33" destOrd="0" presId="urn:microsoft.com/office/officeart/2005/8/layout/default"/>
    <dgm:cxn modelId="{A1291AD3-2FB0-4337-8AF3-379EA242F8A3}" type="presParOf" srcId="{49E0AC6B-4A4E-47DB-AAA5-A5DE36E84338}" destId="{8CD26E6D-EE89-42F4-A4D9-4DE3708DA827}" srcOrd="34" destOrd="0" presId="urn:microsoft.com/office/officeart/2005/8/layout/default"/>
    <dgm:cxn modelId="{B5D8D906-D8D1-49AF-963F-D71659D8507B}" type="presParOf" srcId="{49E0AC6B-4A4E-47DB-AAA5-A5DE36E84338}" destId="{C5478124-DA81-47C0-B6BE-FC004B514BEA}" srcOrd="35" destOrd="0" presId="urn:microsoft.com/office/officeart/2005/8/layout/default"/>
    <dgm:cxn modelId="{3FB05BE4-9EE1-4E52-A7CB-596440EA23D8}" type="presParOf" srcId="{49E0AC6B-4A4E-47DB-AAA5-A5DE36E84338}" destId="{EEF73CF4-38C3-4B55-A6E6-5C8AD2C2BA43}" srcOrd="36" destOrd="0" presId="urn:microsoft.com/office/officeart/2005/8/layout/default"/>
    <dgm:cxn modelId="{B1D9BC8F-D0F1-42F0-8D7A-BDD859E8FB9B}" type="presParOf" srcId="{49E0AC6B-4A4E-47DB-AAA5-A5DE36E84338}" destId="{53E5254A-F9AD-476F-BBA0-70B9FB894AE9}" srcOrd="37" destOrd="0" presId="urn:microsoft.com/office/officeart/2005/8/layout/default"/>
    <dgm:cxn modelId="{131191A5-3E40-496E-8A57-1D0376FB313B}" type="presParOf" srcId="{49E0AC6B-4A4E-47DB-AAA5-A5DE36E84338}" destId="{576928BB-56B9-4DE1-A190-164F278B7CEA}" srcOrd="38" destOrd="0" presId="urn:microsoft.com/office/officeart/2005/8/layout/default"/>
    <dgm:cxn modelId="{28BDA993-1990-4B74-BEE5-EB56B0AA5247}" type="presParOf" srcId="{49E0AC6B-4A4E-47DB-AAA5-A5DE36E84338}" destId="{53573F1B-45C2-494E-BC73-35353E8CC772}" srcOrd="39" destOrd="0" presId="urn:microsoft.com/office/officeart/2005/8/layout/default"/>
    <dgm:cxn modelId="{5520CE21-8C26-408B-B189-3BA597D38C49}" type="presParOf" srcId="{49E0AC6B-4A4E-47DB-AAA5-A5DE36E84338}" destId="{73490067-207A-42B0-81E3-7ABAE426AF0B}" srcOrd="40" destOrd="0" presId="urn:microsoft.com/office/officeart/2005/8/layout/default"/>
    <dgm:cxn modelId="{7FEB7D5D-5A81-47C7-B5DA-31B0133D2BBC}" type="presParOf" srcId="{49E0AC6B-4A4E-47DB-AAA5-A5DE36E84338}" destId="{FE6B636B-C53C-4B6B-A89D-F4EE427ED0D4}" srcOrd="41" destOrd="0" presId="urn:microsoft.com/office/officeart/2005/8/layout/default"/>
    <dgm:cxn modelId="{28B78F8A-A3CC-4B1E-90D0-E0234AEE1BF9}" type="presParOf" srcId="{49E0AC6B-4A4E-47DB-AAA5-A5DE36E84338}" destId="{7157CB8A-EFE2-44D1-AA04-33C8F8041E32}" srcOrd="42" destOrd="0" presId="urn:microsoft.com/office/officeart/2005/8/layout/default"/>
    <dgm:cxn modelId="{D84846D3-D993-4D85-B726-FB075715EBB1}" type="presParOf" srcId="{49E0AC6B-4A4E-47DB-AAA5-A5DE36E84338}" destId="{E0C41257-A462-4E82-9F85-F818F55C24BF}" srcOrd="43" destOrd="0" presId="urn:microsoft.com/office/officeart/2005/8/layout/default"/>
    <dgm:cxn modelId="{049E37C3-1AE3-4824-9292-0672B89F6B46}" type="presParOf" srcId="{49E0AC6B-4A4E-47DB-AAA5-A5DE36E84338}" destId="{F7C34D32-17C3-4099-BAD8-AF138A90D367}" srcOrd="44" destOrd="0" presId="urn:microsoft.com/office/officeart/2005/8/layout/default"/>
    <dgm:cxn modelId="{F08BFA1B-81AA-44C7-915F-92E8A1E19AE2}" type="presParOf" srcId="{49E0AC6B-4A4E-47DB-AAA5-A5DE36E84338}" destId="{3FC916BC-4F93-47AF-AE1E-C375E6344DEF}" srcOrd="45" destOrd="0" presId="urn:microsoft.com/office/officeart/2005/8/layout/default"/>
    <dgm:cxn modelId="{04C58436-8180-43D4-A499-1F07BB2C4B61}" type="presParOf" srcId="{49E0AC6B-4A4E-47DB-AAA5-A5DE36E84338}" destId="{6BFABF5A-B274-4396-8804-F336A95787D1}" srcOrd="46" destOrd="0" presId="urn:microsoft.com/office/officeart/2005/8/layout/defaul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EB9B1A1-0D31-4E2E-AB20-BBC60539E84C}" type="doc">
      <dgm:prSet loTypeId="urn:microsoft.com/office/officeart/2005/8/layout/list1" loCatId="list" qsTypeId="urn:microsoft.com/office/officeart/2005/8/quickstyle/simple1" qsCatId="simple" csTypeId="urn:microsoft.com/office/officeart/2005/8/colors/colorful5" csCatId="colorful" phldr="1"/>
      <dgm:spPr/>
      <dgm:t>
        <a:bodyPr/>
        <a:lstStyle/>
        <a:p>
          <a:endParaRPr lang="en-US"/>
        </a:p>
      </dgm:t>
    </dgm:pt>
    <dgm:pt modelId="{921E94B1-24D6-4F32-8695-475DB47DBFE0}">
      <dgm:prSet/>
      <dgm:spPr/>
      <dgm:t>
        <a:bodyPr/>
        <a:lstStyle/>
        <a:p>
          <a:pPr rtl="0"/>
          <a:r>
            <a:rPr lang="en-US" dirty="0" smtClean="0"/>
            <a:t> Cache-aside</a:t>
          </a:r>
          <a:endParaRPr lang="en-US" dirty="0"/>
        </a:p>
      </dgm:t>
    </dgm:pt>
    <dgm:pt modelId="{98AB07B5-7A9C-4515-BCEC-30687D8E0D34}" type="parTrans" cxnId="{ADCFDC32-B3EC-470C-9FBE-CAF675ACD06E}">
      <dgm:prSet/>
      <dgm:spPr/>
      <dgm:t>
        <a:bodyPr/>
        <a:lstStyle/>
        <a:p>
          <a:endParaRPr lang="en-US"/>
        </a:p>
      </dgm:t>
    </dgm:pt>
    <dgm:pt modelId="{74A961DE-E8E4-44A7-BBE9-D6C77CCE100A}" type="sibTrans" cxnId="{ADCFDC32-B3EC-470C-9FBE-CAF675ACD06E}">
      <dgm:prSet/>
      <dgm:spPr/>
      <dgm:t>
        <a:bodyPr/>
        <a:lstStyle/>
        <a:p>
          <a:endParaRPr lang="en-US"/>
        </a:p>
      </dgm:t>
    </dgm:pt>
    <dgm:pt modelId="{59DFD1AC-B55B-435C-81C6-CB158673C313}">
      <dgm:prSet/>
      <dgm:spPr/>
      <dgm:t>
        <a:bodyPr/>
        <a:lstStyle/>
        <a:p>
          <a:r>
            <a:rPr lang="en-US" dirty="0" smtClean="0"/>
            <a:t> Circuit Breaker</a:t>
          </a:r>
          <a:endParaRPr lang="en-US" dirty="0"/>
        </a:p>
      </dgm:t>
    </dgm:pt>
    <dgm:pt modelId="{089FCC58-B398-4F53-A5F8-B65933724CB0}" type="parTrans" cxnId="{FF31B088-5D91-4E7A-A411-31FC85AD23C6}">
      <dgm:prSet/>
      <dgm:spPr/>
      <dgm:t>
        <a:bodyPr/>
        <a:lstStyle/>
        <a:p>
          <a:endParaRPr lang="en-US"/>
        </a:p>
      </dgm:t>
    </dgm:pt>
    <dgm:pt modelId="{8A84534C-771B-413D-BEE2-6BD156CC5344}" type="sibTrans" cxnId="{FF31B088-5D91-4E7A-A411-31FC85AD23C6}">
      <dgm:prSet/>
      <dgm:spPr/>
      <dgm:t>
        <a:bodyPr/>
        <a:lstStyle/>
        <a:p>
          <a:endParaRPr lang="en-US"/>
        </a:p>
      </dgm:t>
    </dgm:pt>
    <dgm:pt modelId="{E81A095E-30CF-402C-8331-BC693AF4205D}">
      <dgm:prSet/>
      <dgm:spPr/>
      <dgm:t>
        <a:bodyPr/>
        <a:lstStyle/>
        <a:p>
          <a:r>
            <a:rPr lang="en-US" dirty="0" smtClean="0"/>
            <a:t> Compensating Transaction</a:t>
          </a:r>
          <a:endParaRPr lang="en-US" dirty="0"/>
        </a:p>
      </dgm:t>
    </dgm:pt>
    <dgm:pt modelId="{4786696F-2B9B-416B-8E04-D6D8BAA94438}" type="parTrans" cxnId="{B961AF1E-216C-4BB6-9EE5-7371E4FC1C1D}">
      <dgm:prSet/>
      <dgm:spPr/>
      <dgm:t>
        <a:bodyPr/>
        <a:lstStyle/>
        <a:p>
          <a:endParaRPr lang="en-US"/>
        </a:p>
      </dgm:t>
    </dgm:pt>
    <dgm:pt modelId="{6CCB7512-7B2D-4407-A223-5D1FD0E01C1B}" type="sibTrans" cxnId="{B961AF1E-216C-4BB6-9EE5-7371E4FC1C1D}">
      <dgm:prSet/>
      <dgm:spPr/>
      <dgm:t>
        <a:bodyPr/>
        <a:lstStyle/>
        <a:p>
          <a:endParaRPr lang="en-US"/>
        </a:p>
      </dgm:t>
    </dgm:pt>
    <dgm:pt modelId="{DAD1C729-3835-4292-B8AF-C734A9589CDA}">
      <dgm:prSet/>
      <dgm:spPr/>
      <dgm:t>
        <a:bodyPr/>
        <a:lstStyle/>
        <a:p>
          <a:r>
            <a:rPr lang="en-US" dirty="0" smtClean="0"/>
            <a:t> Competing Consumers</a:t>
          </a:r>
        </a:p>
      </dgm:t>
    </dgm:pt>
    <dgm:pt modelId="{EF3CED3E-04D3-46C9-85D4-132182F90696}" type="parTrans" cxnId="{0B2752E5-F341-4A18-8A59-C15C3D1729CB}">
      <dgm:prSet/>
      <dgm:spPr/>
      <dgm:t>
        <a:bodyPr/>
        <a:lstStyle/>
        <a:p>
          <a:endParaRPr lang="en-US"/>
        </a:p>
      </dgm:t>
    </dgm:pt>
    <dgm:pt modelId="{69A9897C-4D55-452C-944B-789BFE17C8B5}" type="sibTrans" cxnId="{0B2752E5-F341-4A18-8A59-C15C3D1729CB}">
      <dgm:prSet/>
      <dgm:spPr/>
      <dgm:t>
        <a:bodyPr/>
        <a:lstStyle/>
        <a:p>
          <a:endParaRPr lang="en-US"/>
        </a:p>
      </dgm:t>
    </dgm:pt>
    <dgm:pt modelId="{72CBC948-13AD-4A9B-B0BB-214E626CE7CA}">
      <dgm:prSet/>
      <dgm:spPr/>
      <dgm:t>
        <a:bodyPr/>
        <a:lstStyle/>
        <a:p>
          <a:endParaRPr lang="en-US" dirty="0"/>
        </a:p>
      </dgm:t>
    </dgm:pt>
    <dgm:pt modelId="{C711E341-BD34-4496-B915-1F637885CB5E}" type="parTrans" cxnId="{D8BCEECA-AC1E-424C-BCA9-965198787EF6}">
      <dgm:prSet/>
      <dgm:spPr/>
      <dgm:t>
        <a:bodyPr/>
        <a:lstStyle/>
        <a:p>
          <a:endParaRPr lang="en-US"/>
        </a:p>
      </dgm:t>
    </dgm:pt>
    <dgm:pt modelId="{1BBEDC4C-A41C-4524-BE02-70660E1BE469}" type="sibTrans" cxnId="{D8BCEECA-AC1E-424C-BCA9-965198787EF6}">
      <dgm:prSet/>
      <dgm:spPr/>
      <dgm:t>
        <a:bodyPr/>
        <a:lstStyle/>
        <a:p>
          <a:endParaRPr lang="en-US"/>
        </a:p>
      </dgm:t>
    </dgm:pt>
    <dgm:pt modelId="{D9162FA9-B278-470E-BB1E-DB5D4077F40F}">
      <dgm:prSet/>
      <dgm:spPr/>
      <dgm:t>
        <a:bodyPr/>
        <a:lstStyle/>
        <a:p>
          <a:endParaRPr lang="en-US" dirty="0"/>
        </a:p>
      </dgm:t>
    </dgm:pt>
    <dgm:pt modelId="{0D8D35AF-789E-4525-96B6-51DB55142098}" type="parTrans" cxnId="{6F766BB1-42CF-4749-A2D6-9FEA3ABDAB9B}">
      <dgm:prSet/>
      <dgm:spPr/>
      <dgm:t>
        <a:bodyPr/>
        <a:lstStyle/>
        <a:p>
          <a:endParaRPr lang="en-US"/>
        </a:p>
      </dgm:t>
    </dgm:pt>
    <dgm:pt modelId="{77ED8538-D0C1-4A58-9CBD-E34BAE302DF3}" type="sibTrans" cxnId="{6F766BB1-42CF-4749-A2D6-9FEA3ABDAB9B}">
      <dgm:prSet/>
      <dgm:spPr/>
      <dgm:t>
        <a:bodyPr/>
        <a:lstStyle/>
        <a:p>
          <a:endParaRPr lang="en-US"/>
        </a:p>
      </dgm:t>
    </dgm:pt>
    <dgm:pt modelId="{2FE5DF42-1ED1-4710-89C2-427C64A13144}">
      <dgm:prSet/>
      <dgm:spPr/>
      <dgm:t>
        <a:bodyPr/>
        <a:lstStyle/>
        <a:p>
          <a:endParaRPr lang="en-US" dirty="0"/>
        </a:p>
      </dgm:t>
    </dgm:pt>
    <dgm:pt modelId="{912DB2FD-972A-4916-9703-E1289578FEAA}" type="parTrans" cxnId="{824741AA-8C0E-438C-B7B6-A3D2F3106144}">
      <dgm:prSet/>
      <dgm:spPr/>
      <dgm:t>
        <a:bodyPr/>
        <a:lstStyle/>
        <a:p>
          <a:endParaRPr lang="en-US"/>
        </a:p>
      </dgm:t>
    </dgm:pt>
    <dgm:pt modelId="{1A85EBA5-F5A2-4D84-8E05-2B1BECB661FC}" type="sibTrans" cxnId="{824741AA-8C0E-438C-B7B6-A3D2F3106144}">
      <dgm:prSet/>
      <dgm:spPr/>
      <dgm:t>
        <a:bodyPr/>
        <a:lstStyle/>
        <a:p>
          <a:endParaRPr lang="en-US"/>
        </a:p>
      </dgm:t>
    </dgm:pt>
    <dgm:pt modelId="{C91998ED-BB0C-4781-9440-9EE0778DE2D4}">
      <dgm:prSet/>
      <dgm:spPr/>
      <dgm:t>
        <a:bodyPr/>
        <a:lstStyle/>
        <a:p>
          <a:endParaRPr lang="en-US" dirty="0"/>
        </a:p>
      </dgm:t>
    </dgm:pt>
    <dgm:pt modelId="{843F7AB5-D3E7-4AE0-9C1E-01CC18C51A99}" type="sibTrans" cxnId="{D95F247E-3A76-4E25-BEEE-3E6552DD0142}">
      <dgm:prSet/>
      <dgm:spPr/>
      <dgm:t>
        <a:bodyPr/>
        <a:lstStyle/>
        <a:p>
          <a:endParaRPr lang="en-US"/>
        </a:p>
      </dgm:t>
    </dgm:pt>
    <dgm:pt modelId="{D0189AF6-71A6-44F8-91BC-425109888FF3}" type="parTrans" cxnId="{D95F247E-3A76-4E25-BEEE-3E6552DD0142}">
      <dgm:prSet/>
      <dgm:spPr/>
      <dgm:t>
        <a:bodyPr/>
        <a:lstStyle/>
        <a:p>
          <a:endParaRPr lang="en-US"/>
        </a:p>
      </dgm:t>
    </dgm:pt>
    <dgm:pt modelId="{6F82F3A2-5133-4B02-8157-4B2344D56F3D}">
      <dgm:prSet/>
      <dgm:spPr/>
      <dgm:t>
        <a:bodyPr/>
        <a:lstStyle/>
        <a:p>
          <a:r>
            <a:rPr lang="en-US" dirty="0"/>
            <a:t>Load data on demand into a cache from a data store. This pattern can improve </a:t>
          </a:r>
          <a:r>
            <a:rPr lang="en-US" dirty="0" smtClean="0"/>
            <a:t>performance and also helps to maintain consistency between data held in the cache and the data in the underlying data store</a:t>
          </a:r>
          <a:endParaRPr lang="en-US" dirty="0"/>
        </a:p>
      </dgm:t>
    </dgm:pt>
    <dgm:pt modelId="{94525E36-CFA6-48B8-83F8-BA1FF8F8F659}" type="parTrans" cxnId="{33B35D8E-FD26-4667-93B4-B9649354D6F1}">
      <dgm:prSet/>
      <dgm:spPr/>
      <dgm:t>
        <a:bodyPr/>
        <a:lstStyle/>
        <a:p>
          <a:endParaRPr lang="en-US"/>
        </a:p>
      </dgm:t>
    </dgm:pt>
    <dgm:pt modelId="{7274AD1E-B7A5-4496-ACCE-DD5ECA9C884C}" type="sibTrans" cxnId="{33B35D8E-FD26-4667-93B4-B9649354D6F1}">
      <dgm:prSet/>
      <dgm:spPr/>
      <dgm:t>
        <a:bodyPr/>
        <a:lstStyle/>
        <a:p>
          <a:endParaRPr lang="en-US"/>
        </a:p>
      </dgm:t>
    </dgm:pt>
    <dgm:pt modelId="{0B443DB6-FB1A-4A30-96D4-051D22914ED8}">
      <dgm:prSet/>
      <dgm:spPr/>
      <dgm:t>
        <a:bodyPr/>
        <a:lstStyle/>
        <a:p>
          <a:r>
            <a:rPr lang="en-US" dirty="0"/>
            <a:t>Handle faults that may take a variable amount of time to rectify when connecting to a </a:t>
          </a:r>
          <a:r>
            <a:rPr lang="en-US" dirty="0" smtClean="0"/>
            <a:t>remote service or resource. This pattern can improve the stability and resiliency of an application</a:t>
          </a:r>
          <a:endParaRPr lang="en-US" dirty="0"/>
        </a:p>
      </dgm:t>
    </dgm:pt>
    <dgm:pt modelId="{18F630D0-1119-4068-8BA3-C2F55F4D21B7}" type="parTrans" cxnId="{FA5B89D0-5006-463C-98FB-9ECF8D2B4758}">
      <dgm:prSet/>
      <dgm:spPr/>
      <dgm:t>
        <a:bodyPr/>
        <a:lstStyle/>
        <a:p>
          <a:endParaRPr lang="en-US"/>
        </a:p>
      </dgm:t>
    </dgm:pt>
    <dgm:pt modelId="{2FBB9E3A-CD7C-4E58-ACA5-DC54068BF19D}" type="sibTrans" cxnId="{FA5B89D0-5006-463C-98FB-9ECF8D2B4758}">
      <dgm:prSet/>
      <dgm:spPr/>
      <dgm:t>
        <a:bodyPr/>
        <a:lstStyle/>
        <a:p>
          <a:endParaRPr lang="en-US"/>
        </a:p>
      </dgm:t>
    </dgm:pt>
    <dgm:pt modelId="{EE08B2A4-AE70-4ED9-B372-815432B14AF4}">
      <dgm:prSet/>
      <dgm:spPr/>
      <dgm:t>
        <a:bodyPr/>
        <a:lstStyle/>
        <a:p>
          <a:r>
            <a:rPr lang="en-US" dirty="0"/>
            <a:t>Undo the work performed by a series of steps, which together define an eventually </a:t>
          </a:r>
          <a:r>
            <a:rPr lang="en-US" dirty="0" smtClean="0"/>
            <a:t>consistent operation, if one or more of the operations fails. Operations that follow the eventual consistency model are commonly found in cloud-hosted applications that implement complex business processes and workflows</a:t>
          </a:r>
          <a:endParaRPr lang="en-US" dirty="0"/>
        </a:p>
      </dgm:t>
    </dgm:pt>
    <dgm:pt modelId="{F320F6D0-7E68-4D83-AEC9-2447F2EFB13F}" type="parTrans" cxnId="{1038FD18-FB3F-4E34-9518-E124F7BEC037}">
      <dgm:prSet/>
      <dgm:spPr/>
      <dgm:t>
        <a:bodyPr/>
        <a:lstStyle/>
        <a:p>
          <a:endParaRPr lang="en-US"/>
        </a:p>
      </dgm:t>
    </dgm:pt>
    <dgm:pt modelId="{F7A723C0-9ABC-4787-AFD0-31A73AE82088}" type="sibTrans" cxnId="{1038FD18-FB3F-4E34-9518-E124F7BEC037}">
      <dgm:prSet/>
      <dgm:spPr/>
      <dgm:t>
        <a:bodyPr/>
        <a:lstStyle/>
        <a:p>
          <a:endParaRPr lang="en-US"/>
        </a:p>
      </dgm:t>
    </dgm:pt>
    <dgm:pt modelId="{0AAEBBB2-7E25-456E-93EB-C17E7F4FE9C9}">
      <dgm:prSet/>
      <dgm:spPr/>
      <dgm:t>
        <a:bodyPr/>
        <a:lstStyle/>
        <a:p>
          <a:r>
            <a:rPr lang="en-US" dirty="0"/>
            <a:t>Enable multiple concurrent consumers to process messages received on the same </a:t>
          </a:r>
          <a:r>
            <a:rPr lang="en-US" dirty="0" smtClean="0"/>
            <a:t>messaging channel. This pattern enables a system to process multiple messages concurrently to optimize throughput, to improve scalability and availability, and to balance the workload</a:t>
          </a:r>
          <a:endParaRPr lang="en-US" dirty="0"/>
        </a:p>
      </dgm:t>
    </dgm:pt>
    <dgm:pt modelId="{E747E3CE-B312-4552-AE39-EFFE65676A12}" type="sibTrans" cxnId="{7FF9EF74-482B-4D40-83FD-A976EC184365}">
      <dgm:prSet/>
      <dgm:spPr/>
      <dgm:t>
        <a:bodyPr/>
        <a:lstStyle/>
        <a:p>
          <a:endParaRPr lang="en-US"/>
        </a:p>
      </dgm:t>
    </dgm:pt>
    <dgm:pt modelId="{91B57D0C-A8C5-46BC-B7CA-5F8E16C58DF8}" type="parTrans" cxnId="{7FF9EF74-482B-4D40-83FD-A976EC184365}">
      <dgm:prSet/>
      <dgm:spPr/>
      <dgm:t>
        <a:bodyPr/>
        <a:lstStyle/>
        <a:p>
          <a:endParaRPr lang="en-US"/>
        </a:p>
      </dgm:t>
    </dgm:pt>
    <dgm:pt modelId="{723659F0-CC16-4D06-BA78-071F78B80D61}" type="pres">
      <dgm:prSet presAssocID="{8EB9B1A1-0D31-4E2E-AB20-BBC60539E84C}" presName="linear" presStyleCnt="0">
        <dgm:presLayoutVars>
          <dgm:dir/>
          <dgm:animLvl val="lvl"/>
          <dgm:resizeHandles val="exact"/>
        </dgm:presLayoutVars>
      </dgm:prSet>
      <dgm:spPr/>
      <dgm:t>
        <a:bodyPr/>
        <a:lstStyle/>
        <a:p>
          <a:endParaRPr lang="en-US"/>
        </a:p>
      </dgm:t>
    </dgm:pt>
    <dgm:pt modelId="{5B5D28A6-2D6A-4764-A4B5-DA8C3F4DBB15}" type="pres">
      <dgm:prSet presAssocID="{921E94B1-24D6-4F32-8695-475DB47DBFE0}" presName="parentLin" presStyleCnt="0"/>
      <dgm:spPr/>
    </dgm:pt>
    <dgm:pt modelId="{78314719-39EB-4372-ACCC-5F5E0E582DF5}" type="pres">
      <dgm:prSet presAssocID="{921E94B1-24D6-4F32-8695-475DB47DBFE0}" presName="parentLeftMargin" presStyleLbl="node1" presStyleIdx="0" presStyleCnt="4"/>
      <dgm:spPr/>
      <dgm:t>
        <a:bodyPr/>
        <a:lstStyle/>
        <a:p>
          <a:endParaRPr lang="en-US"/>
        </a:p>
      </dgm:t>
    </dgm:pt>
    <dgm:pt modelId="{E6718583-D808-47FB-8D2C-F34D7737876D}" type="pres">
      <dgm:prSet presAssocID="{921E94B1-24D6-4F32-8695-475DB47DBFE0}" presName="parentText" presStyleLbl="node1" presStyleIdx="0" presStyleCnt="4">
        <dgm:presLayoutVars>
          <dgm:chMax val="0"/>
          <dgm:bulletEnabled val="1"/>
        </dgm:presLayoutVars>
      </dgm:prSet>
      <dgm:spPr/>
      <dgm:t>
        <a:bodyPr/>
        <a:lstStyle/>
        <a:p>
          <a:endParaRPr lang="en-US"/>
        </a:p>
      </dgm:t>
    </dgm:pt>
    <dgm:pt modelId="{4C363769-112D-4E31-BF75-721FE873C446}" type="pres">
      <dgm:prSet presAssocID="{921E94B1-24D6-4F32-8695-475DB47DBFE0}" presName="negativeSpace" presStyleCnt="0"/>
      <dgm:spPr/>
    </dgm:pt>
    <dgm:pt modelId="{2669E78D-544C-43C4-9030-49D356EF044F}" type="pres">
      <dgm:prSet presAssocID="{921E94B1-24D6-4F32-8695-475DB47DBFE0}" presName="childText" presStyleLbl="conFgAcc1" presStyleIdx="0" presStyleCnt="4">
        <dgm:presLayoutVars>
          <dgm:bulletEnabled val="1"/>
        </dgm:presLayoutVars>
      </dgm:prSet>
      <dgm:spPr/>
      <dgm:t>
        <a:bodyPr/>
        <a:lstStyle/>
        <a:p>
          <a:endParaRPr lang="en-US"/>
        </a:p>
      </dgm:t>
    </dgm:pt>
    <dgm:pt modelId="{583B939E-263E-4547-BC11-F2D9938956E5}" type="pres">
      <dgm:prSet presAssocID="{74A961DE-E8E4-44A7-BBE9-D6C77CCE100A}" presName="spaceBetweenRectangles" presStyleCnt="0"/>
      <dgm:spPr/>
    </dgm:pt>
    <dgm:pt modelId="{66EEAC20-F654-4F55-ABD4-1F01C08F3CDF}" type="pres">
      <dgm:prSet presAssocID="{59DFD1AC-B55B-435C-81C6-CB158673C313}" presName="parentLin" presStyleCnt="0"/>
      <dgm:spPr/>
    </dgm:pt>
    <dgm:pt modelId="{8D190271-2CC7-4374-B53C-B3C702633599}" type="pres">
      <dgm:prSet presAssocID="{59DFD1AC-B55B-435C-81C6-CB158673C313}" presName="parentLeftMargin" presStyleLbl="node1" presStyleIdx="0" presStyleCnt="4"/>
      <dgm:spPr/>
      <dgm:t>
        <a:bodyPr/>
        <a:lstStyle/>
        <a:p>
          <a:endParaRPr lang="en-US"/>
        </a:p>
      </dgm:t>
    </dgm:pt>
    <dgm:pt modelId="{E4145E15-B1FB-47EC-ABE8-F7C21388DAFC}" type="pres">
      <dgm:prSet presAssocID="{59DFD1AC-B55B-435C-81C6-CB158673C313}" presName="parentText" presStyleLbl="node1" presStyleIdx="1" presStyleCnt="4">
        <dgm:presLayoutVars>
          <dgm:chMax val="0"/>
          <dgm:bulletEnabled val="1"/>
        </dgm:presLayoutVars>
      </dgm:prSet>
      <dgm:spPr/>
      <dgm:t>
        <a:bodyPr/>
        <a:lstStyle/>
        <a:p>
          <a:endParaRPr lang="en-US"/>
        </a:p>
      </dgm:t>
    </dgm:pt>
    <dgm:pt modelId="{4BD0211F-5878-4663-9ABA-85DF4AF79122}" type="pres">
      <dgm:prSet presAssocID="{59DFD1AC-B55B-435C-81C6-CB158673C313}" presName="negativeSpace" presStyleCnt="0"/>
      <dgm:spPr/>
    </dgm:pt>
    <dgm:pt modelId="{F2420F4F-7ECF-4E1D-B8F8-2EC15814DDC6}" type="pres">
      <dgm:prSet presAssocID="{59DFD1AC-B55B-435C-81C6-CB158673C313}" presName="childText" presStyleLbl="conFgAcc1" presStyleIdx="1" presStyleCnt="4">
        <dgm:presLayoutVars>
          <dgm:bulletEnabled val="1"/>
        </dgm:presLayoutVars>
      </dgm:prSet>
      <dgm:spPr/>
      <dgm:t>
        <a:bodyPr/>
        <a:lstStyle/>
        <a:p>
          <a:endParaRPr lang="en-US"/>
        </a:p>
      </dgm:t>
    </dgm:pt>
    <dgm:pt modelId="{57C1198F-5D4C-4E1A-A45A-33D7BD8C6641}" type="pres">
      <dgm:prSet presAssocID="{8A84534C-771B-413D-BEE2-6BD156CC5344}" presName="spaceBetweenRectangles" presStyleCnt="0"/>
      <dgm:spPr/>
    </dgm:pt>
    <dgm:pt modelId="{CE3F2ADC-6D63-4677-86C0-7EC4C35FC1EC}" type="pres">
      <dgm:prSet presAssocID="{E81A095E-30CF-402C-8331-BC693AF4205D}" presName="parentLin" presStyleCnt="0"/>
      <dgm:spPr/>
    </dgm:pt>
    <dgm:pt modelId="{AB8DF429-CC95-4E85-803D-025C433C8271}" type="pres">
      <dgm:prSet presAssocID="{E81A095E-30CF-402C-8331-BC693AF4205D}" presName="parentLeftMargin" presStyleLbl="node1" presStyleIdx="1" presStyleCnt="4"/>
      <dgm:spPr/>
      <dgm:t>
        <a:bodyPr/>
        <a:lstStyle/>
        <a:p>
          <a:endParaRPr lang="en-US"/>
        </a:p>
      </dgm:t>
    </dgm:pt>
    <dgm:pt modelId="{08A91DD1-C522-4E87-9941-526DD847D7AA}" type="pres">
      <dgm:prSet presAssocID="{E81A095E-30CF-402C-8331-BC693AF4205D}" presName="parentText" presStyleLbl="node1" presStyleIdx="2" presStyleCnt="4">
        <dgm:presLayoutVars>
          <dgm:chMax val="0"/>
          <dgm:bulletEnabled val="1"/>
        </dgm:presLayoutVars>
      </dgm:prSet>
      <dgm:spPr/>
      <dgm:t>
        <a:bodyPr/>
        <a:lstStyle/>
        <a:p>
          <a:endParaRPr lang="en-US"/>
        </a:p>
      </dgm:t>
    </dgm:pt>
    <dgm:pt modelId="{E5A34619-2B2C-4314-BFEB-E01B830D1567}" type="pres">
      <dgm:prSet presAssocID="{E81A095E-30CF-402C-8331-BC693AF4205D}" presName="negativeSpace" presStyleCnt="0"/>
      <dgm:spPr/>
    </dgm:pt>
    <dgm:pt modelId="{04781E90-8B4B-487F-BFE5-D2B742903529}" type="pres">
      <dgm:prSet presAssocID="{E81A095E-30CF-402C-8331-BC693AF4205D}" presName="childText" presStyleLbl="conFgAcc1" presStyleIdx="2" presStyleCnt="4">
        <dgm:presLayoutVars>
          <dgm:bulletEnabled val="1"/>
        </dgm:presLayoutVars>
      </dgm:prSet>
      <dgm:spPr/>
      <dgm:t>
        <a:bodyPr/>
        <a:lstStyle/>
        <a:p>
          <a:endParaRPr lang="en-US"/>
        </a:p>
      </dgm:t>
    </dgm:pt>
    <dgm:pt modelId="{B22E0026-2DDB-45AF-9634-03AC3EC387A3}" type="pres">
      <dgm:prSet presAssocID="{6CCB7512-7B2D-4407-A223-5D1FD0E01C1B}" presName="spaceBetweenRectangles" presStyleCnt="0"/>
      <dgm:spPr/>
    </dgm:pt>
    <dgm:pt modelId="{DE5F0846-CBAE-4553-9953-AA2066D81ACB}" type="pres">
      <dgm:prSet presAssocID="{DAD1C729-3835-4292-B8AF-C734A9589CDA}" presName="parentLin" presStyleCnt="0"/>
      <dgm:spPr/>
    </dgm:pt>
    <dgm:pt modelId="{13CEFE41-73A3-4F2B-BA47-705E4B27B912}" type="pres">
      <dgm:prSet presAssocID="{DAD1C729-3835-4292-B8AF-C734A9589CDA}" presName="parentLeftMargin" presStyleLbl="node1" presStyleIdx="2" presStyleCnt="4"/>
      <dgm:spPr/>
      <dgm:t>
        <a:bodyPr/>
        <a:lstStyle/>
        <a:p>
          <a:endParaRPr lang="en-US"/>
        </a:p>
      </dgm:t>
    </dgm:pt>
    <dgm:pt modelId="{C67FC09D-DA46-40EF-8AC5-78CD1AA16E5E}" type="pres">
      <dgm:prSet presAssocID="{DAD1C729-3835-4292-B8AF-C734A9589CDA}" presName="parentText" presStyleLbl="node1" presStyleIdx="3" presStyleCnt="4" custLinFactNeighborY="-3002">
        <dgm:presLayoutVars>
          <dgm:chMax val="0"/>
          <dgm:bulletEnabled val="1"/>
        </dgm:presLayoutVars>
      </dgm:prSet>
      <dgm:spPr/>
      <dgm:t>
        <a:bodyPr/>
        <a:lstStyle/>
        <a:p>
          <a:endParaRPr lang="en-US"/>
        </a:p>
      </dgm:t>
    </dgm:pt>
    <dgm:pt modelId="{6548E678-431D-4701-8CB6-F63063F6FFB8}" type="pres">
      <dgm:prSet presAssocID="{DAD1C729-3835-4292-B8AF-C734A9589CDA}" presName="negativeSpace" presStyleCnt="0"/>
      <dgm:spPr/>
    </dgm:pt>
    <dgm:pt modelId="{0B5EFAC6-75B6-4564-8071-F0B5C4D133BA}" type="pres">
      <dgm:prSet presAssocID="{DAD1C729-3835-4292-B8AF-C734A9589CDA}" presName="childText" presStyleLbl="conFgAcc1" presStyleIdx="3" presStyleCnt="4">
        <dgm:presLayoutVars>
          <dgm:bulletEnabled val="1"/>
        </dgm:presLayoutVars>
      </dgm:prSet>
      <dgm:spPr/>
      <dgm:t>
        <a:bodyPr/>
        <a:lstStyle/>
        <a:p>
          <a:endParaRPr lang="en-US"/>
        </a:p>
      </dgm:t>
    </dgm:pt>
  </dgm:ptLst>
  <dgm:cxnLst>
    <dgm:cxn modelId="{069CAEA8-3537-49B6-9AEE-61DDF2E8A0E0}" type="presOf" srcId="{E81A095E-30CF-402C-8331-BC693AF4205D}" destId="{AB8DF429-CC95-4E85-803D-025C433C8271}" srcOrd="0" destOrd="0" presId="urn:microsoft.com/office/officeart/2005/8/layout/list1"/>
    <dgm:cxn modelId="{42EB23A9-30C8-481A-B452-EFBB121B823F}" type="presOf" srcId="{2FE5DF42-1ED1-4710-89C2-427C64A13144}" destId="{0B5EFAC6-75B6-4564-8071-F0B5C4D133BA}" srcOrd="0" destOrd="0" presId="urn:microsoft.com/office/officeart/2005/8/layout/list1"/>
    <dgm:cxn modelId="{6F766BB1-42CF-4749-A2D6-9FEA3ABDAB9B}" srcId="{E81A095E-30CF-402C-8331-BC693AF4205D}" destId="{D9162FA9-B278-470E-BB1E-DB5D4077F40F}" srcOrd="0" destOrd="0" parTransId="{0D8D35AF-789E-4525-96B6-51DB55142098}" sibTransId="{77ED8538-D0C1-4A58-9CBD-E34BAE302DF3}"/>
    <dgm:cxn modelId="{D95F247E-3A76-4E25-BEEE-3E6552DD0142}" srcId="{921E94B1-24D6-4F32-8695-475DB47DBFE0}" destId="{C91998ED-BB0C-4781-9440-9EE0778DE2D4}" srcOrd="0" destOrd="0" parTransId="{D0189AF6-71A6-44F8-91BC-425109888FF3}" sibTransId="{843F7AB5-D3E7-4AE0-9C1E-01CC18C51A99}"/>
    <dgm:cxn modelId="{B961AF1E-216C-4BB6-9EE5-7371E4FC1C1D}" srcId="{8EB9B1A1-0D31-4E2E-AB20-BBC60539E84C}" destId="{E81A095E-30CF-402C-8331-BC693AF4205D}" srcOrd="2" destOrd="0" parTransId="{4786696F-2B9B-416B-8E04-D6D8BAA94438}" sibTransId="{6CCB7512-7B2D-4407-A223-5D1FD0E01C1B}"/>
    <dgm:cxn modelId="{FA5B89D0-5006-463C-98FB-9ECF8D2B4758}" srcId="{59DFD1AC-B55B-435C-81C6-CB158673C313}" destId="{0B443DB6-FB1A-4A30-96D4-051D22914ED8}" srcOrd="1" destOrd="0" parTransId="{18F630D0-1119-4068-8BA3-C2F55F4D21B7}" sibTransId="{2FBB9E3A-CD7C-4E58-ACA5-DC54068BF19D}"/>
    <dgm:cxn modelId="{D5AFB419-8C03-4D93-8F93-0A2487C9C723}" type="presOf" srcId="{DAD1C729-3835-4292-B8AF-C734A9589CDA}" destId="{C67FC09D-DA46-40EF-8AC5-78CD1AA16E5E}" srcOrd="1" destOrd="0" presId="urn:microsoft.com/office/officeart/2005/8/layout/list1"/>
    <dgm:cxn modelId="{4C9111C6-8D37-4101-9684-4FFF3F5A2201}" type="presOf" srcId="{921E94B1-24D6-4F32-8695-475DB47DBFE0}" destId="{E6718583-D808-47FB-8D2C-F34D7737876D}" srcOrd="1" destOrd="0" presId="urn:microsoft.com/office/officeart/2005/8/layout/list1"/>
    <dgm:cxn modelId="{F08112BD-85B5-42CC-BD15-073C9D4C0E90}" type="presOf" srcId="{921E94B1-24D6-4F32-8695-475DB47DBFE0}" destId="{78314719-39EB-4372-ACCC-5F5E0E582DF5}" srcOrd="0" destOrd="0" presId="urn:microsoft.com/office/officeart/2005/8/layout/list1"/>
    <dgm:cxn modelId="{5F23BEF9-BC2A-43F2-9853-6E3F7179F5E3}" type="presOf" srcId="{59DFD1AC-B55B-435C-81C6-CB158673C313}" destId="{8D190271-2CC7-4374-B53C-B3C702633599}" srcOrd="0" destOrd="0" presId="urn:microsoft.com/office/officeart/2005/8/layout/list1"/>
    <dgm:cxn modelId="{1038FD18-FB3F-4E34-9518-E124F7BEC037}" srcId="{E81A095E-30CF-402C-8331-BC693AF4205D}" destId="{EE08B2A4-AE70-4ED9-B372-815432B14AF4}" srcOrd="1" destOrd="0" parTransId="{F320F6D0-7E68-4D83-AEC9-2447F2EFB13F}" sibTransId="{F7A723C0-9ABC-4787-AFD0-31A73AE82088}"/>
    <dgm:cxn modelId="{B9FB3CD2-F51C-440F-A8AB-D0474396BAAF}" type="presOf" srcId="{6F82F3A2-5133-4B02-8157-4B2344D56F3D}" destId="{2669E78D-544C-43C4-9030-49D356EF044F}" srcOrd="0" destOrd="1" presId="urn:microsoft.com/office/officeart/2005/8/layout/list1"/>
    <dgm:cxn modelId="{0ADD9F84-FA53-4606-8C68-F4F83EFF0CD3}" type="presOf" srcId="{0AAEBBB2-7E25-456E-93EB-C17E7F4FE9C9}" destId="{0B5EFAC6-75B6-4564-8071-F0B5C4D133BA}" srcOrd="0" destOrd="1" presId="urn:microsoft.com/office/officeart/2005/8/layout/list1"/>
    <dgm:cxn modelId="{824741AA-8C0E-438C-B7B6-A3D2F3106144}" srcId="{DAD1C729-3835-4292-B8AF-C734A9589CDA}" destId="{2FE5DF42-1ED1-4710-89C2-427C64A13144}" srcOrd="0" destOrd="0" parTransId="{912DB2FD-972A-4916-9703-E1289578FEAA}" sibTransId="{1A85EBA5-F5A2-4D84-8E05-2B1BECB661FC}"/>
    <dgm:cxn modelId="{68AC7EAC-FEEB-4241-8F34-30327D79D598}" type="presOf" srcId="{C91998ED-BB0C-4781-9440-9EE0778DE2D4}" destId="{2669E78D-544C-43C4-9030-49D356EF044F}" srcOrd="0" destOrd="0" presId="urn:microsoft.com/office/officeart/2005/8/layout/list1"/>
    <dgm:cxn modelId="{AB85CC08-F5A6-4A45-9291-8D62483F60F8}" type="presOf" srcId="{D9162FA9-B278-470E-BB1E-DB5D4077F40F}" destId="{04781E90-8B4B-487F-BFE5-D2B742903529}" srcOrd="0" destOrd="0" presId="urn:microsoft.com/office/officeart/2005/8/layout/list1"/>
    <dgm:cxn modelId="{FF31B088-5D91-4E7A-A411-31FC85AD23C6}" srcId="{8EB9B1A1-0D31-4E2E-AB20-BBC60539E84C}" destId="{59DFD1AC-B55B-435C-81C6-CB158673C313}" srcOrd="1" destOrd="0" parTransId="{089FCC58-B398-4F53-A5F8-B65933724CB0}" sibTransId="{8A84534C-771B-413D-BEE2-6BD156CC5344}"/>
    <dgm:cxn modelId="{ADCFDC32-B3EC-470C-9FBE-CAF675ACD06E}" srcId="{8EB9B1A1-0D31-4E2E-AB20-BBC60539E84C}" destId="{921E94B1-24D6-4F32-8695-475DB47DBFE0}" srcOrd="0" destOrd="0" parTransId="{98AB07B5-7A9C-4515-BCEC-30687D8E0D34}" sibTransId="{74A961DE-E8E4-44A7-BBE9-D6C77CCE100A}"/>
    <dgm:cxn modelId="{7FF9EF74-482B-4D40-83FD-A976EC184365}" srcId="{DAD1C729-3835-4292-B8AF-C734A9589CDA}" destId="{0AAEBBB2-7E25-456E-93EB-C17E7F4FE9C9}" srcOrd="1" destOrd="0" parTransId="{91B57D0C-A8C5-46BC-B7CA-5F8E16C58DF8}" sibTransId="{E747E3CE-B312-4552-AE39-EFFE65676A12}"/>
    <dgm:cxn modelId="{0B2752E5-F341-4A18-8A59-C15C3D1729CB}" srcId="{8EB9B1A1-0D31-4E2E-AB20-BBC60539E84C}" destId="{DAD1C729-3835-4292-B8AF-C734A9589CDA}" srcOrd="3" destOrd="0" parTransId="{EF3CED3E-04D3-46C9-85D4-132182F90696}" sibTransId="{69A9897C-4D55-452C-944B-789BFE17C8B5}"/>
    <dgm:cxn modelId="{F74B92BC-DBBC-41C9-BA11-4A6B1DE53F0E}" type="presOf" srcId="{DAD1C729-3835-4292-B8AF-C734A9589CDA}" destId="{13CEFE41-73A3-4F2B-BA47-705E4B27B912}" srcOrd="0" destOrd="0" presId="urn:microsoft.com/office/officeart/2005/8/layout/list1"/>
    <dgm:cxn modelId="{35067060-2240-45DB-8919-2CB46BC5269B}" type="presOf" srcId="{0B443DB6-FB1A-4A30-96D4-051D22914ED8}" destId="{F2420F4F-7ECF-4E1D-B8F8-2EC15814DDC6}" srcOrd="0" destOrd="1" presId="urn:microsoft.com/office/officeart/2005/8/layout/list1"/>
    <dgm:cxn modelId="{58D7E9AC-237E-40F4-9763-1D9379348465}" type="presOf" srcId="{8EB9B1A1-0D31-4E2E-AB20-BBC60539E84C}" destId="{723659F0-CC16-4D06-BA78-071F78B80D61}" srcOrd="0" destOrd="0" presId="urn:microsoft.com/office/officeart/2005/8/layout/list1"/>
    <dgm:cxn modelId="{33B35D8E-FD26-4667-93B4-B9649354D6F1}" srcId="{921E94B1-24D6-4F32-8695-475DB47DBFE0}" destId="{6F82F3A2-5133-4B02-8157-4B2344D56F3D}" srcOrd="1" destOrd="0" parTransId="{94525E36-CFA6-48B8-83F8-BA1FF8F8F659}" sibTransId="{7274AD1E-B7A5-4496-ACCE-DD5ECA9C884C}"/>
    <dgm:cxn modelId="{C761767E-43DE-41CA-A325-58B797107ABC}" type="presOf" srcId="{72CBC948-13AD-4A9B-B0BB-214E626CE7CA}" destId="{F2420F4F-7ECF-4E1D-B8F8-2EC15814DDC6}" srcOrd="0" destOrd="0" presId="urn:microsoft.com/office/officeart/2005/8/layout/list1"/>
    <dgm:cxn modelId="{D8BCEECA-AC1E-424C-BCA9-965198787EF6}" srcId="{59DFD1AC-B55B-435C-81C6-CB158673C313}" destId="{72CBC948-13AD-4A9B-B0BB-214E626CE7CA}" srcOrd="0" destOrd="0" parTransId="{C711E341-BD34-4496-B915-1F637885CB5E}" sibTransId="{1BBEDC4C-A41C-4524-BE02-70660E1BE469}"/>
    <dgm:cxn modelId="{BBD62432-19C3-426B-B2C5-034A9A465D67}" type="presOf" srcId="{E81A095E-30CF-402C-8331-BC693AF4205D}" destId="{08A91DD1-C522-4E87-9941-526DD847D7AA}" srcOrd="1" destOrd="0" presId="urn:microsoft.com/office/officeart/2005/8/layout/list1"/>
    <dgm:cxn modelId="{C4FB9E4E-235F-46B8-A615-D6FB77C9744F}" type="presOf" srcId="{59DFD1AC-B55B-435C-81C6-CB158673C313}" destId="{E4145E15-B1FB-47EC-ABE8-F7C21388DAFC}" srcOrd="1" destOrd="0" presId="urn:microsoft.com/office/officeart/2005/8/layout/list1"/>
    <dgm:cxn modelId="{BD8FA677-861C-4588-AB0F-5759845CC1F4}" type="presOf" srcId="{EE08B2A4-AE70-4ED9-B372-815432B14AF4}" destId="{04781E90-8B4B-487F-BFE5-D2B742903529}" srcOrd="0" destOrd="1" presId="urn:microsoft.com/office/officeart/2005/8/layout/list1"/>
    <dgm:cxn modelId="{AC697DE1-1971-447E-AE94-FE65B025034D}" type="presParOf" srcId="{723659F0-CC16-4D06-BA78-071F78B80D61}" destId="{5B5D28A6-2D6A-4764-A4B5-DA8C3F4DBB15}" srcOrd="0" destOrd="0" presId="urn:microsoft.com/office/officeart/2005/8/layout/list1"/>
    <dgm:cxn modelId="{D7196526-3D8D-4CED-8F5D-C9A1EC1786CB}" type="presParOf" srcId="{5B5D28A6-2D6A-4764-A4B5-DA8C3F4DBB15}" destId="{78314719-39EB-4372-ACCC-5F5E0E582DF5}" srcOrd="0" destOrd="0" presId="urn:microsoft.com/office/officeart/2005/8/layout/list1"/>
    <dgm:cxn modelId="{F74D0EF7-6231-4CA4-8F38-7A0AA1725657}" type="presParOf" srcId="{5B5D28A6-2D6A-4764-A4B5-DA8C3F4DBB15}" destId="{E6718583-D808-47FB-8D2C-F34D7737876D}" srcOrd="1" destOrd="0" presId="urn:microsoft.com/office/officeart/2005/8/layout/list1"/>
    <dgm:cxn modelId="{53457822-69C0-4B34-946D-34B857989F84}" type="presParOf" srcId="{723659F0-CC16-4D06-BA78-071F78B80D61}" destId="{4C363769-112D-4E31-BF75-721FE873C446}" srcOrd="1" destOrd="0" presId="urn:microsoft.com/office/officeart/2005/8/layout/list1"/>
    <dgm:cxn modelId="{0EF2583B-0639-4A4E-8090-A682A1A3351C}" type="presParOf" srcId="{723659F0-CC16-4D06-BA78-071F78B80D61}" destId="{2669E78D-544C-43C4-9030-49D356EF044F}" srcOrd="2" destOrd="0" presId="urn:microsoft.com/office/officeart/2005/8/layout/list1"/>
    <dgm:cxn modelId="{3D810A85-37E4-49D3-8129-AC11274161FC}" type="presParOf" srcId="{723659F0-CC16-4D06-BA78-071F78B80D61}" destId="{583B939E-263E-4547-BC11-F2D9938956E5}" srcOrd="3" destOrd="0" presId="urn:microsoft.com/office/officeart/2005/8/layout/list1"/>
    <dgm:cxn modelId="{99F4AE72-F0D4-47C2-9D53-1779E7883C88}" type="presParOf" srcId="{723659F0-CC16-4D06-BA78-071F78B80D61}" destId="{66EEAC20-F654-4F55-ABD4-1F01C08F3CDF}" srcOrd="4" destOrd="0" presId="urn:microsoft.com/office/officeart/2005/8/layout/list1"/>
    <dgm:cxn modelId="{2D28002C-6744-4C7F-B84F-8729082C1252}" type="presParOf" srcId="{66EEAC20-F654-4F55-ABD4-1F01C08F3CDF}" destId="{8D190271-2CC7-4374-B53C-B3C702633599}" srcOrd="0" destOrd="0" presId="urn:microsoft.com/office/officeart/2005/8/layout/list1"/>
    <dgm:cxn modelId="{993619DD-3C28-46C7-9A38-C447282A2588}" type="presParOf" srcId="{66EEAC20-F654-4F55-ABD4-1F01C08F3CDF}" destId="{E4145E15-B1FB-47EC-ABE8-F7C21388DAFC}" srcOrd="1" destOrd="0" presId="urn:microsoft.com/office/officeart/2005/8/layout/list1"/>
    <dgm:cxn modelId="{9F71ED9A-6DC0-4D48-9856-8B308D2D2A2B}" type="presParOf" srcId="{723659F0-CC16-4D06-BA78-071F78B80D61}" destId="{4BD0211F-5878-4663-9ABA-85DF4AF79122}" srcOrd="5" destOrd="0" presId="urn:microsoft.com/office/officeart/2005/8/layout/list1"/>
    <dgm:cxn modelId="{83DB5B20-15BC-434B-ABBC-51547F191241}" type="presParOf" srcId="{723659F0-CC16-4D06-BA78-071F78B80D61}" destId="{F2420F4F-7ECF-4E1D-B8F8-2EC15814DDC6}" srcOrd="6" destOrd="0" presId="urn:microsoft.com/office/officeart/2005/8/layout/list1"/>
    <dgm:cxn modelId="{A4C94A77-A6A7-453A-8A15-D277C6FC0E90}" type="presParOf" srcId="{723659F0-CC16-4D06-BA78-071F78B80D61}" destId="{57C1198F-5D4C-4E1A-A45A-33D7BD8C6641}" srcOrd="7" destOrd="0" presId="urn:microsoft.com/office/officeart/2005/8/layout/list1"/>
    <dgm:cxn modelId="{030925D6-EC0A-4FFE-87B5-656980F3EBCD}" type="presParOf" srcId="{723659F0-CC16-4D06-BA78-071F78B80D61}" destId="{CE3F2ADC-6D63-4677-86C0-7EC4C35FC1EC}" srcOrd="8" destOrd="0" presId="urn:microsoft.com/office/officeart/2005/8/layout/list1"/>
    <dgm:cxn modelId="{318CB1F5-46B2-4C97-8DA8-C7BD6DE5ED3C}" type="presParOf" srcId="{CE3F2ADC-6D63-4677-86C0-7EC4C35FC1EC}" destId="{AB8DF429-CC95-4E85-803D-025C433C8271}" srcOrd="0" destOrd="0" presId="urn:microsoft.com/office/officeart/2005/8/layout/list1"/>
    <dgm:cxn modelId="{AC4A46EA-A3B6-47E5-9479-676A602CA1E9}" type="presParOf" srcId="{CE3F2ADC-6D63-4677-86C0-7EC4C35FC1EC}" destId="{08A91DD1-C522-4E87-9941-526DD847D7AA}" srcOrd="1" destOrd="0" presId="urn:microsoft.com/office/officeart/2005/8/layout/list1"/>
    <dgm:cxn modelId="{2BBB0752-3E3B-40B4-BC9B-EE4649F0F861}" type="presParOf" srcId="{723659F0-CC16-4D06-BA78-071F78B80D61}" destId="{E5A34619-2B2C-4314-BFEB-E01B830D1567}" srcOrd="9" destOrd="0" presId="urn:microsoft.com/office/officeart/2005/8/layout/list1"/>
    <dgm:cxn modelId="{D14E8F60-639E-457F-92F9-99FA57E9AF65}" type="presParOf" srcId="{723659F0-CC16-4D06-BA78-071F78B80D61}" destId="{04781E90-8B4B-487F-BFE5-D2B742903529}" srcOrd="10" destOrd="0" presId="urn:microsoft.com/office/officeart/2005/8/layout/list1"/>
    <dgm:cxn modelId="{393FE992-2CA5-4F89-81AA-0387FFD36E0B}" type="presParOf" srcId="{723659F0-CC16-4D06-BA78-071F78B80D61}" destId="{B22E0026-2DDB-45AF-9634-03AC3EC387A3}" srcOrd="11" destOrd="0" presId="urn:microsoft.com/office/officeart/2005/8/layout/list1"/>
    <dgm:cxn modelId="{9633D5A9-7632-4B0A-A6E1-87EED90E5D81}" type="presParOf" srcId="{723659F0-CC16-4D06-BA78-071F78B80D61}" destId="{DE5F0846-CBAE-4553-9953-AA2066D81ACB}" srcOrd="12" destOrd="0" presId="urn:microsoft.com/office/officeart/2005/8/layout/list1"/>
    <dgm:cxn modelId="{5C4DF8D2-4880-4C6D-8C50-76AEC9678E44}" type="presParOf" srcId="{DE5F0846-CBAE-4553-9953-AA2066D81ACB}" destId="{13CEFE41-73A3-4F2B-BA47-705E4B27B912}" srcOrd="0" destOrd="0" presId="urn:microsoft.com/office/officeart/2005/8/layout/list1"/>
    <dgm:cxn modelId="{72DB438E-2E1E-48D9-AA70-7413D7CD02C5}" type="presParOf" srcId="{DE5F0846-CBAE-4553-9953-AA2066D81ACB}" destId="{C67FC09D-DA46-40EF-8AC5-78CD1AA16E5E}" srcOrd="1" destOrd="0" presId="urn:microsoft.com/office/officeart/2005/8/layout/list1"/>
    <dgm:cxn modelId="{2AC5F001-3091-4ED0-8AEA-8E06BF9ADA1A}" type="presParOf" srcId="{723659F0-CC16-4D06-BA78-071F78B80D61}" destId="{6548E678-431D-4701-8CB6-F63063F6FFB8}" srcOrd="13" destOrd="0" presId="urn:microsoft.com/office/officeart/2005/8/layout/list1"/>
    <dgm:cxn modelId="{B50DD68E-82FC-457E-A952-4FA04C680FBE}" type="presParOf" srcId="{723659F0-CC16-4D06-BA78-071F78B80D61}" destId="{0B5EFAC6-75B6-4564-8071-F0B5C4D133BA}" srcOrd="14"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EB9B1A1-0D31-4E2E-AB20-BBC60539E84C}" type="doc">
      <dgm:prSet loTypeId="urn:microsoft.com/office/officeart/2005/8/layout/list1" loCatId="list" qsTypeId="urn:microsoft.com/office/officeart/2005/8/quickstyle/simple1" qsCatId="simple" csTypeId="urn:microsoft.com/office/officeart/2005/8/colors/colorful5" csCatId="colorful" phldr="1"/>
      <dgm:spPr/>
      <dgm:t>
        <a:bodyPr/>
        <a:lstStyle/>
        <a:p>
          <a:endParaRPr lang="en-US"/>
        </a:p>
      </dgm:t>
    </dgm:pt>
    <dgm:pt modelId="{921E94B1-24D6-4F32-8695-475DB47DBFE0}">
      <dgm:prSet/>
      <dgm:spPr/>
      <dgm:t>
        <a:bodyPr/>
        <a:lstStyle/>
        <a:p>
          <a:pPr rtl="0"/>
          <a:r>
            <a:rPr lang="en-US" dirty="0" smtClean="0"/>
            <a:t> Compute Resource Consolidation</a:t>
          </a:r>
          <a:endParaRPr lang="en-US" dirty="0"/>
        </a:p>
      </dgm:t>
    </dgm:pt>
    <dgm:pt modelId="{98AB07B5-7A9C-4515-BCEC-30687D8E0D34}" type="parTrans" cxnId="{ADCFDC32-B3EC-470C-9FBE-CAF675ACD06E}">
      <dgm:prSet/>
      <dgm:spPr/>
      <dgm:t>
        <a:bodyPr/>
        <a:lstStyle/>
        <a:p>
          <a:endParaRPr lang="en-US"/>
        </a:p>
      </dgm:t>
    </dgm:pt>
    <dgm:pt modelId="{74A961DE-E8E4-44A7-BBE9-D6C77CCE100A}" type="sibTrans" cxnId="{ADCFDC32-B3EC-470C-9FBE-CAF675ACD06E}">
      <dgm:prSet/>
      <dgm:spPr/>
      <dgm:t>
        <a:bodyPr/>
        <a:lstStyle/>
        <a:p>
          <a:endParaRPr lang="en-US"/>
        </a:p>
      </dgm:t>
    </dgm:pt>
    <dgm:pt modelId="{59DFD1AC-B55B-435C-81C6-CB158673C313}">
      <dgm:prSet/>
      <dgm:spPr/>
      <dgm:t>
        <a:bodyPr/>
        <a:lstStyle/>
        <a:p>
          <a:r>
            <a:rPr lang="en-US" dirty="0" smtClean="0"/>
            <a:t> Command and Query Responsibility Segregation</a:t>
          </a:r>
          <a:endParaRPr lang="en-US" dirty="0"/>
        </a:p>
      </dgm:t>
    </dgm:pt>
    <dgm:pt modelId="{089FCC58-B398-4F53-A5F8-B65933724CB0}" type="parTrans" cxnId="{FF31B088-5D91-4E7A-A411-31FC85AD23C6}">
      <dgm:prSet/>
      <dgm:spPr/>
      <dgm:t>
        <a:bodyPr/>
        <a:lstStyle/>
        <a:p>
          <a:endParaRPr lang="en-US"/>
        </a:p>
      </dgm:t>
    </dgm:pt>
    <dgm:pt modelId="{8A84534C-771B-413D-BEE2-6BD156CC5344}" type="sibTrans" cxnId="{FF31B088-5D91-4E7A-A411-31FC85AD23C6}">
      <dgm:prSet/>
      <dgm:spPr/>
      <dgm:t>
        <a:bodyPr/>
        <a:lstStyle/>
        <a:p>
          <a:endParaRPr lang="en-US"/>
        </a:p>
      </dgm:t>
    </dgm:pt>
    <dgm:pt modelId="{E81A095E-30CF-402C-8331-BC693AF4205D}">
      <dgm:prSet/>
      <dgm:spPr/>
      <dgm:t>
        <a:bodyPr/>
        <a:lstStyle/>
        <a:p>
          <a:r>
            <a:rPr lang="en-US" dirty="0" smtClean="0"/>
            <a:t> Event Sourcing</a:t>
          </a:r>
          <a:endParaRPr lang="en-US" dirty="0"/>
        </a:p>
      </dgm:t>
    </dgm:pt>
    <dgm:pt modelId="{4786696F-2B9B-416B-8E04-D6D8BAA94438}" type="parTrans" cxnId="{B961AF1E-216C-4BB6-9EE5-7371E4FC1C1D}">
      <dgm:prSet/>
      <dgm:spPr/>
      <dgm:t>
        <a:bodyPr/>
        <a:lstStyle/>
        <a:p>
          <a:endParaRPr lang="en-US"/>
        </a:p>
      </dgm:t>
    </dgm:pt>
    <dgm:pt modelId="{6CCB7512-7B2D-4407-A223-5D1FD0E01C1B}" type="sibTrans" cxnId="{B961AF1E-216C-4BB6-9EE5-7371E4FC1C1D}">
      <dgm:prSet/>
      <dgm:spPr/>
      <dgm:t>
        <a:bodyPr/>
        <a:lstStyle/>
        <a:p>
          <a:endParaRPr lang="en-US"/>
        </a:p>
      </dgm:t>
    </dgm:pt>
    <dgm:pt modelId="{DAD1C729-3835-4292-B8AF-C734A9589CDA}">
      <dgm:prSet/>
      <dgm:spPr/>
      <dgm:t>
        <a:bodyPr/>
        <a:lstStyle/>
        <a:p>
          <a:r>
            <a:rPr lang="en-US" dirty="0" smtClean="0"/>
            <a:t> External Configuration Store</a:t>
          </a:r>
        </a:p>
      </dgm:t>
    </dgm:pt>
    <dgm:pt modelId="{EF3CED3E-04D3-46C9-85D4-132182F90696}" type="parTrans" cxnId="{0B2752E5-F341-4A18-8A59-C15C3D1729CB}">
      <dgm:prSet/>
      <dgm:spPr/>
      <dgm:t>
        <a:bodyPr/>
        <a:lstStyle/>
        <a:p>
          <a:endParaRPr lang="en-US"/>
        </a:p>
      </dgm:t>
    </dgm:pt>
    <dgm:pt modelId="{69A9897C-4D55-452C-944B-789BFE17C8B5}" type="sibTrans" cxnId="{0B2752E5-F341-4A18-8A59-C15C3D1729CB}">
      <dgm:prSet/>
      <dgm:spPr/>
      <dgm:t>
        <a:bodyPr/>
        <a:lstStyle/>
        <a:p>
          <a:endParaRPr lang="en-US"/>
        </a:p>
      </dgm:t>
    </dgm:pt>
    <dgm:pt modelId="{72CBC948-13AD-4A9B-B0BB-214E626CE7CA}">
      <dgm:prSet/>
      <dgm:spPr/>
      <dgm:t>
        <a:bodyPr/>
        <a:lstStyle/>
        <a:p>
          <a:endParaRPr lang="en-US" dirty="0"/>
        </a:p>
      </dgm:t>
    </dgm:pt>
    <dgm:pt modelId="{C711E341-BD34-4496-B915-1F637885CB5E}" type="parTrans" cxnId="{D8BCEECA-AC1E-424C-BCA9-965198787EF6}">
      <dgm:prSet/>
      <dgm:spPr/>
      <dgm:t>
        <a:bodyPr/>
        <a:lstStyle/>
        <a:p>
          <a:endParaRPr lang="en-US"/>
        </a:p>
      </dgm:t>
    </dgm:pt>
    <dgm:pt modelId="{1BBEDC4C-A41C-4524-BE02-70660E1BE469}" type="sibTrans" cxnId="{D8BCEECA-AC1E-424C-BCA9-965198787EF6}">
      <dgm:prSet/>
      <dgm:spPr/>
      <dgm:t>
        <a:bodyPr/>
        <a:lstStyle/>
        <a:p>
          <a:endParaRPr lang="en-US"/>
        </a:p>
      </dgm:t>
    </dgm:pt>
    <dgm:pt modelId="{D9162FA9-B278-470E-BB1E-DB5D4077F40F}">
      <dgm:prSet/>
      <dgm:spPr/>
      <dgm:t>
        <a:bodyPr/>
        <a:lstStyle/>
        <a:p>
          <a:endParaRPr lang="en-US" dirty="0"/>
        </a:p>
      </dgm:t>
    </dgm:pt>
    <dgm:pt modelId="{0D8D35AF-789E-4525-96B6-51DB55142098}" type="parTrans" cxnId="{6F766BB1-42CF-4749-A2D6-9FEA3ABDAB9B}">
      <dgm:prSet/>
      <dgm:spPr/>
      <dgm:t>
        <a:bodyPr/>
        <a:lstStyle/>
        <a:p>
          <a:endParaRPr lang="en-US"/>
        </a:p>
      </dgm:t>
    </dgm:pt>
    <dgm:pt modelId="{77ED8538-D0C1-4A58-9CBD-E34BAE302DF3}" type="sibTrans" cxnId="{6F766BB1-42CF-4749-A2D6-9FEA3ABDAB9B}">
      <dgm:prSet/>
      <dgm:spPr/>
      <dgm:t>
        <a:bodyPr/>
        <a:lstStyle/>
        <a:p>
          <a:endParaRPr lang="en-US"/>
        </a:p>
      </dgm:t>
    </dgm:pt>
    <dgm:pt modelId="{2FE5DF42-1ED1-4710-89C2-427C64A13144}">
      <dgm:prSet/>
      <dgm:spPr/>
      <dgm:t>
        <a:bodyPr/>
        <a:lstStyle/>
        <a:p>
          <a:endParaRPr lang="en-US" dirty="0"/>
        </a:p>
      </dgm:t>
    </dgm:pt>
    <dgm:pt modelId="{912DB2FD-972A-4916-9703-E1289578FEAA}" type="parTrans" cxnId="{824741AA-8C0E-438C-B7B6-A3D2F3106144}">
      <dgm:prSet/>
      <dgm:spPr/>
      <dgm:t>
        <a:bodyPr/>
        <a:lstStyle/>
        <a:p>
          <a:endParaRPr lang="en-US"/>
        </a:p>
      </dgm:t>
    </dgm:pt>
    <dgm:pt modelId="{1A85EBA5-F5A2-4D84-8E05-2B1BECB661FC}" type="sibTrans" cxnId="{824741AA-8C0E-438C-B7B6-A3D2F3106144}">
      <dgm:prSet/>
      <dgm:spPr/>
      <dgm:t>
        <a:bodyPr/>
        <a:lstStyle/>
        <a:p>
          <a:endParaRPr lang="en-US"/>
        </a:p>
      </dgm:t>
    </dgm:pt>
    <dgm:pt modelId="{C91998ED-BB0C-4781-9440-9EE0778DE2D4}">
      <dgm:prSet/>
      <dgm:spPr/>
      <dgm:t>
        <a:bodyPr/>
        <a:lstStyle/>
        <a:p>
          <a:endParaRPr lang="en-US" dirty="0"/>
        </a:p>
      </dgm:t>
    </dgm:pt>
    <dgm:pt modelId="{843F7AB5-D3E7-4AE0-9C1E-01CC18C51A99}" type="sibTrans" cxnId="{D95F247E-3A76-4E25-BEEE-3E6552DD0142}">
      <dgm:prSet/>
      <dgm:spPr/>
      <dgm:t>
        <a:bodyPr/>
        <a:lstStyle/>
        <a:p>
          <a:endParaRPr lang="en-US"/>
        </a:p>
      </dgm:t>
    </dgm:pt>
    <dgm:pt modelId="{D0189AF6-71A6-44F8-91BC-425109888FF3}" type="parTrans" cxnId="{D95F247E-3A76-4E25-BEEE-3E6552DD0142}">
      <dgm:prSet/>
      <dgm:spPr/>
      <dgm:t>
        <a:bodyPr/>
        <a:lstStyle/>
        <a:p>
          <a:endParaRPr lang="en-US"/>
        </a:p>
      </dgm:t>
    </dgm:pt>
    <dgm:pt modelId="{526000DF-D91E-4745-89D0-2F9E80EA0495}">
      <dgm:prSet/>
      <dgm:spPr/>
      <dgm:t>
        <a:bodyPr/>
        <a:lstStyle/>
        <a:p>
          <a:r>
            <a:rPr lang="en-US" dirty="0"/>
            <a:t>Consolidate multiple tasks or operations into a single computational unit. This pattern </a:t>
          </a:r>
          <a:r>
            <a:rPr lang="en-US" dirty="0" smtClean="0"/>
            <a:t>can increase compute resource utilization, and reduce the costs and management overhead associated with performing compute processing in cloud-hosted applications</a:t>
          </a:r>
          <a:endParaRPr lang="en-US" dirty="0"/>
        </a:p>
      </dgm:t>
    </dgm:pt>
    <dgm:pt modelId="{144CEBB6-42C3-4741-949D-18C0CE92DE05}" type="parTrans" cxnId="{329D7F28-CA49-4570-A2A3-A4B183E8C3CC}">
      <dgm:prSet/>
      <dgm:spPr/>
      <dgm:t>
        <a:bodyPr/>
        <a:lstStyle/>
        <a:p>
          <a:endParaRPr lang="en-US"/>
        </a:p>
      </dgm:t>
    </dgm:pt>
    <dgm:pt modelId="{EEF06F32-D9C2-4C24-B579-F19EF302E7A5}" type="sibTrans" cxnId="{329D7F28-CA49-4570-A2A3-A4B183E8C3CC}">
      <dgm:prSet/>
      <dgm:spPr/>
      <dgm:t>
        <a:bodyPr/>
        <a:lstStyle/>
        <a:p>
          <a:endParaRPr lang="en-US"/>
        </a:p>
      </dgm:t>
    </dgm:pt>
    <dgm:pt modelId="{32EAA439-4D12-4C45-B7AC-ADA35F0F6FF4}">
      <dgm:prSet/>
      <dgm:spPr/>
      <dgm:t>
        <a:bodyPr/>
        <a:lstStyle/>
        <a:p>
          <a:r>
            <a:rPr lang="en-US" dirty="0"/>
            <a:t>Segregate operations that read data from operations that update data by using </a:t>
          </a:r>
          <a:r>
            <a:rPr lang="en-US" dirty="0" smtClean="0"/>
            <a:t>separate interfaces. This pattern can maximize performance, scalability, and security; support evolution of the system over time through higher flexibility; and prevent update commands from causing merge conflicts at the domain level</a:t>
          </a:r>
          <a:endParaRPr lang="en-US" dirty="0"/>
        </a:p>
      </dgm:t>
    </dgm:pt>
    <dgm:pt modelId="{E9A3AA4C-FE63-474B-B9C4-B17C9DBA1C55}" type="parTrans" cxnId="{E5529A8F-5F44-4B41-87B3-28B06069B072}">
      <dgm:prSet/>
      <dgm:spPr/>
      <dgm:t>
        <a:bodyPr/>
        <a:lstStyle/>
        <a:p>
          <a:endParaRPr lang="en-US"/>
        </a:p>
      </dgm:t>
    </dgm:pt>
    <dgm:pt modelId="{D84230AB-ABA0-4BF3-A62B-7E157F7BAF38}" type="sibTrans" cxnId="{E5529A8F-5F44-4B41-87B3-28B06069B072}">
      <dgm:prSet/>
      <dgm:spPr/>
      <dgm:t>
        <a:bodyPr/>
        <a:lstStyle/>
        <a:p>
          <a:endParaRPr lang="en-US"/>
        </a:p>
      </dgm:t>
    </dgm:pt>
    <dgm:pt modelId="{BED0601F-2845-4F78-9576-BBE07DEE50F9}">
      <dgm:prSet/>
      <dgm:spPr/>
      <dgm:t>
        <a:bodyPr/>
        <a:lstStyle/>
        <a:p>
          <a:r>
            <a:rPr lang="en-US" dirty="0"/>
            <a:t>Use an append-only store to record the full series of events that describe actions taken on </a:t>
          </a:r>
          <a:r>
            <a:rPr lang="en-US" dirty="0" smtClean="0"/>
            <a:t>data in a domain, rather than storing just the current state, so that the store can be used to materialize the domain objects. This pattern can simplify tasks in complex domains by avoiding the requirement to synchronize the data model and the business domain; improve performance, scalability, and responsiveness; provide consistency for transactional data; and maintain full audit trails and history that may enable compensating actions.</a:t>
          </a:r>
          <a:endParaRPr lang="en-US" dirty="0"/>
        </a:p>
      </dgm:t>
    </dgm:pt>
    <dgm:pt modelId="{19A01045-F104-4BD4-B81B-0E7B6B58B47C}" type="parTrans" cxnId="{8F0359A7-A31A-49FD-8951-D5D8B199D384}">
      <dgm:prSet/>
      <dgm:spPr/>
      <dgm:t>
        <a:bodyPr/>
        <a:lstStyle/>
        <a:p>
          <a:endParaRPr lang="en-US"/>
        </a:p>
      </dgm:t>
    </dgm:pt>
    <dgm:pt modelId="{D6673FF0-E5CA-46AF-8411-34FB9FA9B771}" type="sibTrans" cxnId="{8F0359A7-A31A-49FD-8951-D5D8B199D384}">
      <dgm:prSet/>
      <dgm:spPr/>
      <dgm:t>
        <a:bodyPr/>
        <a:lstStyle/>
        <a:p>
          <a:endParaRPr lang="en-US"/>
        </a:p>
      </dgm:t>
    </dgm:pt>
    <dgm:pt modelId="{AA2E3591-23FA-436E-89A6-4C603BB9541E}">
      <dgm:prSet/>
      <dgm:spPr/>
      <dgm:t>
        <a:bodyPr/>
        <a:lstStyle/>
        <a:p>
          <a:r>
            <a:rPr lang="en-US" dirty="0"/>
            <a:t>Move configuration information out of the application deployment package to a </a:t>
          </a:r>
          <a:r>
            <a:rPr lang="en-US" dirty="0" smtClean="0"/>
            <a:t>centralized location. This pattern can provide opportunities for easier management and control of configuration data, and for sharing configuration data across applications and application instances.</a:t>
          </a:r>
          <a:endParaRPr lang="en-US" dirty="0"/>
        </a:p>
      </dgm:t>
    </dgm:pt>
    <dgm:pt modelId="{09ECC28F-77D3-42A1-B0E1-99886427C3E5}" type="parTrans" cxnId="{5D7EDE41-F588-4EBB-B1F7-C067661C0234}">
      <dgm:prSet/>
      <dgm:spPr/>
      <dgm:t>
        <a:bodyPr/>
        <a:lstStyle/>
        <a:p>
          <a:endParaRPr lang="en-US"/>
        </a:p>
      </dgm:t>
    </dgm:pt>
    <dgm:pt modelId="{B3E7E000-60EE-4147-A702-781D6A7DD66C}" type="sibTrans" cxnId="{5D7EDE41-F588-4EBB-B1F7-C067661C0234}">
      <dgm:prSet/>
      <dgm:spPr/>
      <dgm:t>
        <a:bodyPr/>
        <a:lstStyle/>
        <a:p>
          <a:endParaRPr lang="en-US"/>
        </a:p>
      </dgm:t>
    </dgm:pt>
    <dgm:pt modelId="{1B5CBEE9-F8A2-408C-8B3B-58911969F1E2}" type="pres">
      <dgm:prSet presAssocID="{8EB9B1A1-0D31-4E2E-AB20-BBC60539E84C}" presName="linear" presStyleCnt="0">
        <dgm:presLayoutVars>
          <dgm:dir/>
          <dgm:animLvl val="lvl"/>
          <dgm:resizeHandles val="exact"/>
        </dgm:presLayoutVars>
      </dgm:prSet>
      <dgm:spPr/>
      <dgm:t>
        <a:bodyPr/>
        <a:lstStyle/>
        <a:p>
          <a:endParaRPr lang="en-US"/>
        </a:p>
      </dgm:t>
    </dgm:pt>
    <dgm:pt modelId="{2A789D77-0F8E-4406-B180-F944327F5912}" type="pres">
      <dgm:prSet presAssocID="{921E94B1-24D6-4F32-8695-475DB47DBFE0}" presName="parentLin" presStyleCnt="0"/>
      <dgm:spPr/>
    </dgm:pt>
    <dgm:pt modelId="{E0EFCBE4-63B7-4A9D-827D-8CDD73D2AE09}" type="pres">
      <dgm:prSet presAssocID="{921E94B1-24D6-4F32-8695-475DB47DBFE0}" presName="parentLeftMargin" presStyleLbl="node1" presStyleIdx="0" presStyleCnt="4"/>
      <dgm:spPr/>
      <dgm:t>
        <a:bodyPr/>
        <a:lstStyle/>
        <a:p>
          <a:endParaRPr lang="en-US"/>
        </a:p>
      </dgm:t>
    </dgm:pt>
    <dgm:pt modelId="{21981FDC-5ABB-411A-BE3D-8D1A1ADA4228}" type="pres">
      <dgm:prSet presAssocID="{921E94B1-24D6-4F32-8695-475DB47DBFE0}" presName="parentText" presStyleLbl="node1" presStyleIdx="0" presStyleCnt="4">
        <dgm:presLayoutVars>
          <dgm:chMax val="0"/>
          <dgm:bulletEnabled val="1"/>
        </dgm:presLayoutVars>
      </dgm:prSet>
      <dgm:spPr/>
      <dgm:t>
        <a:bodyPr/>
        <a:lstStyle/>
        <a:p>
          <a:endParaRPr lang="en-US"/>
        </a:p>
      </dgm:t>
    </dgm:pt>
    <dgm:pt modelId="{0BD79FD5-473B-41F0-92C4-70029E326D8B}" type="pres">
      <dgm:prSet presAssocID="{921E94B1-24D6-4F32-8695-475DB47DBFE0}" presName="negativeSpace" presStyleCnt="0"/>
      <dgm:spPr/>
    </dgm:pt>
    <dgm:pt modelId="{C9F375BB-D8C5-4483-9229-666B1987BE8B}" type="pres">
      <dgm:prSet presAssocID="{921E94B1-24D6-4F32-8695-475DB47DBFE0}" presName="childText" presStyleLbl="conFgAcc1" presStyleIdx="0" presStyleCnt="4">
        <dgm:presLayoutVars>
          <dgm:bulletEnabled val="1"/>
        </dgm:presLayoutVars>
      </dgm:prSet>
      <dgm:spPr/>
      <dgm:t>
        <a:bodyPr/>
        <a:lstStyle/>
        <a:p>
          <a:endParaRPr lang="en-US"/>
        </a:p>
      </dgm:t>
    </dgm:pt>
    <dgm:pt modelId="{C9F2DC6F-0038-4C72-94E2-439B5F2CA80E}" type="pres">
      <dgm:prSet presAssocID="{74A961DE-E8E4-44A7-BBE9-D6C77CCE100A}" presName="spaceBetweenRectangles" presStyleCnt="0"/>
      <dgm:spPr/>
    </dgm:pt>
    <dgm:pt modelId="{649ADB85-E3D0-4BC5-8B79-A9448BBEB985}" type="pres">
      <dgm:prSet presAssocID="{59DFD1AC-B55B-435C-81C6-CB158673C313}" presName="parentLin" presStyleCnt="0"/>
      <dgm:spPr/>
    </dgm:pt>
    <dgm:pt modelId="{84E13277-C6AA-4483-B898-5B473DC76E95}" type="pres">
      <dgm:prSet presAssocID="{59DFD1AC-B55B-435C-81C6-CB158673C313}" presName="parentLeftMargin" presStyleLbl="node1" presStyleIdx="0" presStyleCnt="4"/>
      <dgm:spPr/>
      <dgm:t>
        <a:bodyPr/>
        <a:lstStyle/>
        <a:p>
          <a:endParaRPr lang="en-US"/>
        </a:p>
      </dgm:t>
    </dgm:pt>
    <dgm:pt modelId="{C1AEBFB2-6F48-4E21-87C9-540BBEBB2BF8}" type="pres">
      <dgm:prSet presAssocID="{59DFD1AC-B55B-435C-81C6-CB158673C313}" presName="parentText" presStyleLbl="node1" presStyleIdx="1" presStyleCnt="4">
        <dgm:presLayoutVars>
          <dgm:chMax val="0"/>
          <dgm:bulletEnabled val="1"/>
        </dgm:presLayoutVars>
      </dgm:prSet>
      <dgm:spPr/>
      <dgm:t>
        <a:bodyPr/>
        <a:lstStyle/>
        <a:p>
          <a:endParaRPr lang="en-US"/>
        </a:p>
      </dgm:t>
    </dgm:pt>
    <dgm:pt modelId="{321B186B-E0C6-4A6E-8D84-A9869A7EC15B}" type="pres">
      <dgm:prSet presAssocID="{59DFD1AC-B55B-435C-81C6-CB158673C313}" presName="negativeSpace" presStyleCnt="0"/>
      <dgm:spPr/>
    </dgm:pt>
    <dgm:pt modelId="{219FBB2B-8E02-44BE-A3EF-C48B1EFA262D}" type="pres">
      <dgm:prSet presAssocID="{59DFD1AC-B55B-435C-81C6-CB158673C313}" presName="childText" presStyleLbl="conFgAcc1" presStyleIdx="1" presStyleCnt="4">
        <dgm:presLayoutVars>
          <dgm:bulletEnabled val="1"/>
        </dgm:presLayoutVars>
      </dgm:prSet>
      <dgm:spPr/>
      <dgm:t>
        <a:bodyPr/>
        <a:lstStyle/>
        <a:p>
          <a:endParaRPr lang="en-US"/>
        </a:p>
      </dgm:t>
    </dgm:pt>
    <dgm:pt modelId="{85846D91-4A4B-4843-8160-78751B6A3C4A}" type="pres">
      <dgm:prSet presAssocID="{8A84534C-771B-413D-BEE2-6BD156CC5344}" presName="spaceBetweenRectangles" presStyleCnt="0"/>
      <dgm:spPr/>
    </dgm:pt>
    <dgm:pt modelId="{DC918081-1873-4E9E-9DD6-F47F4BA09238}" type="pres">
      <dgm:prSet presAssocID="{E81A095E-30CF-402C-8331-BC693AF4205D}" presName="parentLin" presStyleCnt="0"/>
      <dgm:spPr/>
    </dgm:pt>
    <dgm:pt modelId="{24300DF3-3A64-44DB-9783-EAA421FA7907}" type="pres">
      <dgm:prSet presAssocID="{E81A095E-30CF-402C-8331-BC693AF4205D}" presName="parentLeftMargin" presStyleLbl="node1" presStyleIdx="1" presStyleCnt="4"/>
      <dgm:spPr/>
      <dgm:t>
        <a:bodyPr/>
        <a:lstStyle/>
        <a:p>
          <a:endParaRPr lang="en-US"/>
        </a:p>
      </dgm:t>
    </dgm:pt>
    <dgm:pt modelId="{09672F9A-D135-411F-8623-4B3EB6CEA88A}" type="pres">
      <dgm:prSet presAssocID="{E81A095E-30CF-402C-8331-BC693AF4205D}" presName="parentText" presStyleLbl="node1" presStyleIdx="2" presStyleCnt="4">
        <dgm:presLayoutVars>
          <dgm:chMax val="0"/>
          <dgm:bulletEnabled val="1"/>
        </dgm:presLayoutVars>
      </dgm:prSet>
      <dgm:spPr/>
      <dgm:t>
        <a:bodyPr/>
        <a:lstStyle/>
        <a:p>
          <a:endParaRPr lang="en-US"/>
        </a:p>
      </dgm:t>
    </dgm:pt>
    <dgm:pt modelId="{D6A2841E-01E2-40BD-B1D8-D46467CC4F4A}" type="pres">
      <dgm:prSet presAssocID="{E81A095E-30CF-402C-8331-BC693AF4205D}" presName="negativeSpace" presStyleCnt="0"/>
      <dgm:spPr/>
    </dgm:pt>
    <dgm:pt modelId="{8A25A5DE-9EF0-4A88-9F50-CEFCA011BAD0}" type="pres">
      <dgm:prSet presAssocID="{E81A095E-30CF-402C-8331-BC693AF4205D}" presName="childText" presStyleLbl="conFgAcc1" presStyleIdx="2" presStyleCnt="4">
        <dgm:presLayoutVars>
          <dgm:bulletEnabled val="1"/>
        </dgm:presLayoutVars>
      </dgm:prSet>
      <dgm:spPr/>
      <dgm:t>
        <a:bodyPr/>
        <a:lstStyle/>
        <a:p>
          <a:endParaRPr lang="en-US"/>
        </a:p>
      </dgm:t>
    </dgm:pt>
    <dgm:pt modelId="{653D7DF7-D4A8-4D4A-8626-42484D8BE5E1}" type="pres">
      <dgm:prSet presAssocID="{6CCB7512-7B2D-4407-A223-5D1FD0E01C1B}" presName="spaceBetweenRectangles" presStyleCnt="0"/>
      <dgm:spPr/>
    </dgm:pt>
    <dgm:pt modelId="{C9E4A87B-13C7-426B-97E4-255C7A157976}" type="pres">
      <dgm:prSet presAssocID="{DAD1C729-3835-4292-B8AF-C734A9589CDA}" presName="parentLin" presStyleCnt="0"/>
      <dgm:spPr/>
    </dgm:pt>
    <dgm:pt modelId="{82B48716-1DB5-4076-958A-67BC0AB92E7A}" type="pres">
      <dgm:prSet presAssocID="{DAD1C729-3835-4292-B8AF-C734A9589CDA}" presName="parentLeftMargin" presStyleLbl="node1" presStyleIdx="2" presStyleCnt="4"/>
      <dgm:spPr/>
      <dgm:t>
        <a:bodyPr/>
        <a:lstStyle/>
        <a:p>
          <a:endParaRPr lang="en-US"/>
        </a:p>
      </dgm:t>
    </dgm:pt>
    <dgm:pt modelId="{C9A61B2D-D319-463A-AFBE-88DE4735154E}" type="pres">
      <dgm:prSet presAssocID="{DAD1C729-3835-4292-B8AF-C734A9589CDA}" presName="parentText" presStyleLbl="node1" presStyleIdx="3" presStyleCnt="4">
        <dgm:presLayoutVars>
          <dgm:chMax val="0"/>
          <dgm:bulletEnabled val="1"/>
        </dgm:presLayoutVars>
      </dgm:prSet>
      <dgm:spPr/>
      <dgm:t>
        <a:bodyPr/>
        <a:lstStyle/>
        <a:p>
          <a:endParaRPr lang="en-US"/>
        </a:p>
      </dgm:t>
    </dgm:pt>
    <dgm:pt modelId="{490A0EC8-3E1F-458F-B157-66B22CF9EB4A}" type="pres">
      <dgm:prSet presAssocID="{DAD1C729-3835-4292-B8AF-C734A9589CDA}" presName="negativeSpace" presStyleCnt="0"/>
      <dgm:spPr/>
    </dgm:pt>
    <dgm:pt modelId="{B9AF7D4E-5741-4510-A01A-1BD5421E9174}" type="pres">
      <dgm:prSet presAssocID="{DAD1C729-3835-4292-B8AF-C734A9589CDA}" presName="childText" presStyleLbl="conFgAcc1" presStyleIdx="3" presStyleCnt="4">
        <dgm:presLayoutVars>
          <dgm:bulletEnabled val="1"/>
        </dgm:presLayoutVars>
      </dgm:prSet>
      <dgm:spPr/>
      <dgm:t>
        <a:bodyPr/>
        <a:lstStyle/>
        <a:p>
          <a:endParaRPr lang="en-US"/>
        </a:p>
      </dgm:t>
    </dgm:pt>
  </dgm:ptLst>
  <dgm:cxnLst>
    <dgm:cxn modelId="{B9E9A4B4-4C0C-48D1-A749-C26CF74CC334}" type="presOf" srcId="{E81A095E-30CF-402C-8331-BC693AF4205D}" destId="{09672F9A-D135-411F-8623-4B3EB6CEA88A}" srcOrd="1" destOrd="0" presId="urn:microsoft.com/office/officeart/2005/8/layout/list1"/>
    <dgm:cxn modelId="{6F766BB1-42CF-4749-A2D6-9FEA3ABDAB9B}" srcId="{E81A095E-30CF-402C-8331-BC693AF4205D}" destId="{D9162FA9-B278-470E-BB1E-DB5D4077F40F}" srcOrd="0" destOrd="0" parTransId="{0D8D35AF-789E-4525-96B6-51DB55142098}" sibTransId="{77ED8538-D0C1-4A58-9CBD-E34BAE302DF3}"/>
    <dgm:cxn modelId="{B1ED8D5B-74A9-4D6C-A4B5-304E21A14B55}" type="presOf" srcId="{BED0601F-2845-4F78-9576-BBE07DEE50F9}" destId="{8A25A5DE-9EF0-4A88-9F50-CEFCA011BAD0}" srcOrd="0" destOrd="1" presId="urn:microsoft.com/office/officeart/2005/8/layout/list1"/>
    <dgm:cxn modelId="{926A9252-57D0-40BC-8390-5808E21B4475}" type="presOf" srcId="{8EB9B1A1-0D31-4E2E-AB20-BBC60539E84C}" destId="{1B5CBEE9-F8A2-408C-8B3B-58911969F1E2}" srcOrd="0" destOrd="0" presId="urn:microsoft.com/office/officeart/2005/8/layout/list1"/>
    <dgm:cxn modelId="{D95F247E-3A76-4E25-BEEE-3E6552DD0142}" srcId="{921E94B1-24D6-4F32-8695-475DB47DBFE0}" destId="{C91998ED-BB0C-4781-9440-9EE0778DE2D4}" srcOrd="0" destOrd="0" parTransId="{D0189AF6-71A6-44F8-91BC-425109888FF3}" sibTransId="{843F7AB5-D3E7-4AE0-9C1E-01CC18C51A99}"/>
    <dgm:cxn modelId="{8F0359A7-A31A-49FD-8951-D5D8B199D384}" srcId="{E81A095E-30CF-402C-8331-BC693AF4205D}" destId="{BED0601F-2845-4F78-9576-BBE07DEE50F9}" srcOrd="1" destOrd="0" parTransId="{19A01045-F104-4BD4-B81B-0E7B6B58B47C}" sibTransId="{D6673FF0-E5CA-46AF-8411-34FB9FA9B771}"/>
    <dgm:cxn modelId="{DCF5E876-8690-4A90-B067-C8462FBB7881}" type="presOf" srcId="{921E94B1-24D6-4F32-8695-475DB47DBFE0}" destId="{E0EFCBE4-63B7-4A9D-827D-8CDD73D2AE09}" srcOrd="0" destOrd="0" presId="urn:microsoft.com/office/officeart/2005/8/layout/list1"/>
    <dgm:cxn modelId="{B961AF1E-216C-4BB6-9EE5-7371E4FC1C1D}" srcId="{8EB9B1A1-0D31-4E2E-AB20-BBC60539E84C}" destId="{E81A095E-30CF-402C-8331-BC693AF4205D}" srcOrd="2" destOrd="0" parTransId="{4786696F-2B9B-416B-8E04-D6D8BAA94438}" sibTransId="{6CCB7512-7B2D-4407-A223-5D1FD0E01C1B}"/>
    <dgm:cxn modelId="{838EF68F-C978-4761-9B2C-CB7D6A4679AE}" type="presOf" srcId="{DAD1C729-3835-4292-B8AF-C734A9589CDA}" destId="{C9A61B2D-D319-463A-AFBE-88DE4735154E}" srcOrd="1" destOrd="0" presId="urn:microsoft.com/office/officeart/2005/8/layout/list1"/>
    <dgm:cxn modelId="{AF7E1669-ADFA-4FB4-BEC0-B3C7E187C82B}" type="presOf" srcId="{32EAA439-4D12-4C45-B7AC-ADA35F0F6FF4}" destId="{219FBB2B-8E02-44BE-A3EF-C48B1EFA262D}" srcOrd="0" destOrd="1" presId="urn:microsoft.com/office/officeart/2005/8/layout/list1"/>
    <dgm:cxn modelId="{F2CC621B-5B65-4208-AA48-B2270B774461}" type="presOf" srcId="{DAD1C729-3835-4292-B8AF-C734A9589CDA}" destId="{82B48716-1DB5-4076-958A-67BC0AB92E7A}" srcOrd="0" destOrd="0" presId="urn:microsoft.com/office/officeart/2005/8/layout/list1"/>
    <dgm:cxn modelId="{44F9A1FC-C748-477E-B0B6-FE6861189D93}" type="presOf" srcId="{59DFD1AC-B55B-435C-81C6-CB158673C313}" destId="{84E13277-C6AA-4483-B898-5B473DC76E95}" srcOrd="0" destOrd="0" presId="urn:microsoft.com/office/officeart/2005/8/layout/list1"/>
    <dgm:cxn modelId="{25E585DD-A237-485C-82A1-D1B9B937A31D}" type="presOf" srcId="{2FE5DF42-1ED1-4710-89C2-427C64A13144}" destId="{B9AF7D4E-5741-4510-A01A-1BD5421E9174}" srcOrd="0" destOrd="0" presId="urn:microsoft.com/office/officeart/2005/8/layout/list1"/>
    <dgm:cxn modelId="{824741AA-8C0E-438C-B7B6-A3D2F3106144}" srcId="{DAD1C729-3835-4292-B8AF-C734A9589CDA}" destId="{2FE5DF42-1ED1-4710-89C2-427C64A13144}" srcOrd="0" destOrd="0" parTransId="{912DB2FD-972A-4916-9703-E1289578FEAA}" sibTransId="{1A85EBA5-F5A2-4D84-8E05-2B1BECB661FC}"/>
    <dgm:cxn modelId="{E5529A8F-5F44-4B41-87B3-28B06069B072}" srcId="{59DFD1AC-B55B-435C-81C6-CB158673C313}" destId="{32EAA439-4D12-4C45-B7AC-ADA35F0F6FF4}" srcOrd="1" destOrd="0" parTransId="{E9A3AA4C-FE63-474B-B9C4-B17C9DBA1C55}" sibTransId="{D84230AB-ABA0-4BF3-A62B-7E157F7BAF38}"/>
    <dgm:cxn modelId="{2488DF90-F328-4AB2-9B3B-3C104A3EDF9F}" type="presOf" srcId="{526000DF-D91E-4745-89D0-2F9E80EA0495}" destId="{C9F375BB-D8C5-4483-9229-666B1987BE8B}" srcOrd="0" destOrd="1" presId="urn:microsoft.com/office/officeart/2005/8/layout/list1"/>
    <dgm:cxn modelId="{ADCFDC32-B3EC-470C-9FBE-CAF675ACD06E}" srcId="{8EB9B1A1-0D31-4E2E-AB20-BBC60539E84C}" destId="{921E94B1-24D6-4F32-8695-475DB47DBFE0}" srcOrd="0" destOrd="0" parTransId="{98AB07B5-7A9C-4515-BCEC-30687D8E0D34}" sibTransId="{74A961DE-E8E4-44A7-BBE9-D6C77CCE100A}"/>
    <dgm:cxn modelId="{C17FA8B0-92B5-4CD2-8C69-02A4B2A71211}" type="presOf" srcId="{921E94B1-24D6-4F32-8695-475DB47DBFE0}" destId="{21981FDC-5ABB-411A-BE3D-8D1A1ADA4228}" srcOrd="1" destOrd="0" presId="urn:microsoft.com/office/officeart/2005/8/layout/list1"/>
    <dgm:cxn modelId="{FF31B088-5D91-4E7A-A411-31FC85AD23C6}" srcId="{8EB9B1A1-0D31-4E2E-AB20-BBC60539E84C}" destId="{59DFD1AC-B55B-435C-81C6-CB158673C313}" srcOrd="1" destOrd="0" parTransId="{089FCC58-B398-4F53-A5F8-B65933724CB0}" sibTransId="{8A84534C-771B-413D-BEE2-6BD156CC5344}"/>
    <dgm:cxn modelId="{29E83676-6F88-433B-A088-9B53CB2FC6A1}" type="presOf" srcId="{E81A095E-30CF-402C-8331-BC693AF4205D}" destId="{24300DF3-3A64-44DB-9783-EAA421FA7907}" srcOrd="0" destOrd="0" presId="urn:microsoft.com/office/officeart/2005/8/layout/list1"/>
    <dgm:cxn modelId="{92340BD8-496C-4547-BFCA-E185275E57CD}" type="presOf" srcId="{AA2E3591-23FA-436E-89A6-4C603BB9541E}" destId="{B9AF7D4E-5741-4510-A01A-1BD5421E9174}" srcOrd="0" destOrd="1" presId="urn:microsoft.com/office/officeart/2005/8/layout/list1"/>
    <dgm:cxn modelId="{0B2752E5-F341-4A18-8A59-C15C3D1729CB}" srcId="{8EB9B1A1-0D31-4E2E-AB20-BBC60539E84C}" destId="{DAD1C729-3835-4292-B8AF-C734A9589CDA}" srcOrd="3" destOrd="0" parTransId="{EF3CED3E-04D3-46C9-85D4-132182F90696}" sibTransId="{69A9897C-4D55-452C-944B-789BFE17C8B5}"/>
    <dgm:cxn modelId="{6251CAAA-C552-4653-A70F-CD9BDA08DD5D}" type="presOf" srcId="{D9162FA9-B278-470E-BB1E-DB5D4077F40F}" destId="{8A25A5DE-9EF0-4A88-9F50-CEFCA011BAD0}" srcOrd="0" destOrd="0" presId="urn:microsoft.com/office/officeart/2005/8/layout/list1"/>
    <dgm:cxn modelId="{71011F51-5B22-4C89-B7C8-902E6ECC06D5}" type="presOf" srcId="{72CBC948-13AD-4A9B-B0BB-214E626CE7CA}" destId="{219FBB2B-8E02-44BE-A3EF-C48B1EFA262D}" srcOrd="0" destOrd="0" presId="urn:microsoft.com/office/officeart/2005/8/layout/list1"/>
    <dgm:cxn modelId="{5D7EDE41-F588-4EBB-B1F7-C067661C0234}" srcId="{DAD1C729-3835-4292-B8AF-C734A9589CDA}" destId="{AA2E3591-23FA-436E-89A6-4C603BB9541E}" srcOrd="1" destOrd="0" parTransId="{09ECC28F-77D3-42A1-B0E1-99886427C3E5}" sibTransId="{B3E7E000-60EE-4147-A702-781D6A7DD66C}"/>
    <dgm:cxn modelId="{329D7F28-CA49-4570-A2A3-A4B183E8C3CC}" srcId="{921E94B1-24D6-4F32-8695-475DB47DBFE0}" destId="{526000DF-D91E-4745-89D0-2F9E80EA0495}" srcOrd="1" destOrd="0" parTransId="{144CEBB6-42C3-4741-949D-18C0CE92DE05}" sibTransId="{EEF06F32-D9C2-4C24-B579-F19EF302E7A5}"/>
    <dgm:cxn modelId="{D8BCEECA-AC1E-424C-BCA9-965198787EF6}" srcId="{59DFD1AC-B55B-435C-81C6-CB158673C313}" destId="{72CBC948-13AD-4A9B-B0BB-214E626CE7CA}" srcOrd="0" destOrd="0" parTransId="{C711E341-BD34-4496-B915-1F637885CB5E}" sibTransId="{1BBEDC4C-A41C-4524-BE02-70660E1BE469}"/>
    <dgm:cxn modelId="{A20D262F-921B-474A-8125-4964128E0DDF}" type="presOf" srcId="{59DFD1AC-B55B-435C-81C6-CB158673C313}" destId="{C1AEBFB2-6F48-4E21-87C9-540BBEBB2BF8}" srcOrd="1" destOrd="0" presId="urn:microsoft.com/office/officeart/2005/8/layout/list1"/>
    <dgm:cxn modelId="{4A4350DB-9232-4308-BC6D-DFDEF1490810}" type="presOf" srcId="{C91998ED-BB0C-4781-9440-9EE0778DE2D4}" destId="{C9F375BB-D8C5-4483-9229-666B1987BE8B}" srcOrd="0" destOrd="0" presId="urn:microsoft.com/office/officeart/2005/8/layout/list1"/>
    <dgm:cxn modelId="{074F8BC3-002F-40A6-A0E5-523051569787}" type="presParOf" srcId="{1B5CBEE9-F8A2-408C-8B3B-58911969F1E2}" destId="{2A789D77-0F8E-4406-B180-F944327F5912}" srcOrd="0" destOrd="0" presId="urn:microsoft.com/office/officeart/2005/8/layout/list1"/>
    <dgm:cxn modelId="{735BDEA1-E4D4-4EC0-9CE4-AFFB81BFAC84}" type="presParOf" srcId="{2A789D77-0F8E-4406-B180-F944327F5912}" destId="{E0EFCBE4-63B7-4A9D-827D-8CDD73D2AE09}" srcOrd="0" destOrd="0" presId="urn:microsoft.com/office/officeart/2005/8/layout/list1"/>
    <dgm:cxn modelId="{B0E53D9F-70E8-4E35-A88F-DE06F5CFFDFE}" type="presParOf" srcId="{2A789D77-0F8E-4406-B180-F944327F5912}" destId="{21981FDC-5ABB-411A-BE3D-8D1A1ADA4228}" srcOrd="1" destOrd="0" presId="urn:microsoft.com/office/officeart/2005/8/layout/list1"/>
    <dgm:cxn modelId="{1463752C-D321-4C58-BF11-C31013AAD601}" type="presParOf" srcId="{1B5CBEE9-F8A2-408C-8B3B-58911969F1E2}" destId="{0BD79FD5-473B-41F0-92C4-70029E326D8B}" srcOrd="1" destOrd="0" presId="urn:microsoft.com/office/officeart/2005/8/layout/list1"/>
    <dgm:cxn modelId="{543C6C38-9158-496D-A7C0-C19FBBB2EBAF}" type="presParOf" srcId="{1B5CBEE9-F8A2-408C-8B3B-58911969F1E2}" destId="{C9F375BB-D8C5-4483-9229-666B1987BE8B}" srcOrd="2" destOrd="0" presId="urn:microsoft.com/office/officeart/2005/8/layout/list1"/>
    <dgm:cxn modelId="{FDAD37C8-3FAA-4710-B4C3-BEB2185ABF7A}" type="presParOf" srcId="{1B5CBEE9-F8A2-408C-8B3B-58911969F1E2}" destId="{C9F2DC6F-0038-4C72-94E2-439B5F2CA80E}" srcOrd="3" destOrd="0" presId="urn:microsoft.com/office/officeart/2005/8/layout/list1"/>
    <dgm:cxn modelId="{675E6D4D-3F9B-4A27-AFE5-1B57299601EB}" type="presParOf" srcId="{1B5CBEE9-F8A2-408C-8B3B-58911969F1E2}" destId="{649ADB85-E3D0-4BC5-8B79-A9448BBEB985}" srcOrd="4" destOrd="0" presId="urn:microsoft.com/office/officeart/2005/8/layout/list1"/>
    <dgm:cxn modelId="{CEFDF06E-5E3D-4B9A-8410-B11BBB59611E}" type="presParOf" srcId="{649ADB85-E3D0-4BC5-8B79-A9448BBEB985}" destId="{84E13277-C6AA-4483-B898-5B473DC76E95}" srcOrd="0" destOrd="0" presId="urn:microsoft.com/office/officeart/2005/8/layout/list1"/>
    <dgm:cxn modelId="{61D73D36-C8FE-451C-A684-CEF01A92C554}" type="presParOf" srcId="{649ADB85-E3D0-4BC5-8B79-A9448BBEB985}" destId="{C1AEBFB2-6F48-4E21-87C9-540BBEBB2BF8}" srcOrd="1" destOrd="0" presId="urn:microsoft.com/office/officeart/2005/8/layout/list1"/>
    <dgm:cxn modelId="{78870B90-42A2-4E85-A14A-D1FA8248BE0D}" type="presParOf" srcId="{1B5CBEE9-F8A2-408C-8B3B-58911969F1E2}" destId="{321B186B-E0C6-4A6E-8D84-A9869A7EC15B}" srcOrd="5" destOrd="0" presId="urn:microsoft.com/office/officeart/2005/8/layout/list1"/>
    <dgm:cxn modelId="{6E22A489-60A3-4582-9289-D2A3CB4194A0}" type="presParOf" srcId="{1B5CBEE9-F8A2-408C-8B3B-58911969F1E2}" destId="{219FBB2B-8E02-44BE-A3EF-C48B1EFA262D}" srcOrd="6" destOrd="0" presId="urn:microsoft.com/office/officeart/2005/8/layout/list1"/>
    <dgm:cxn modelId="{7BCE32BF-6DE9-441C-8FA8-AACF4575E1FA}" type="presParOf" srcId="{1B5CBEE9-F8A2-408C-8B3B-58911969F1E2}" destId="{85846D91-4A4B-4843-8160-78751B6A3C4A}" srcOrd="7" destOrd="0" presId="urn:microsoft.com/office/officeart/2005/8/layout/list1"/>
    <dgm:cxn modelId="{13705257-5BA3-4BF8-900C-CEF2F711E739}" type="presParOf" srcId="{1B5CBEE9-F8A2-408C-8B3B-58911969F1E2}" destId="{DC918081-1873-4E9E-9DD6-F47F4BA09238}" srcOrd="8" destOrd="0" presId="urn:microsoft.com/office/officeart/2005/8/layout/list1"/>
    <dgm:cxn modelId="{E36D98BF-EE81-4353-B23F-BF2AEFFE6218}" type="presParOf" srcId="{DC918081-1873-4E9E-9DD6-F47F4BA09238}" destId="{24300DF3-3A64-44DB-9783-EAA421FA7907}" srcOrd="0" destOrd="0" presId="urn:microsoft.com/office/officeart/2005/8/layout/list1"/>
    <dgm:cxn modelId="{D99D0BC6-57BB-41B5-AC78-01F5416DA744}" type="presParOf" srcId="{DC918081-1873-4E9E-9DD6-F47F4BA09238}" destId="{09672F9A-D135-411F-8623-4B3EB6CEA88A}" srcOrd="1" destOrd="0" presId="urn:microsoft.com/office/officeart/2005/8/layout/list1"/>
    <dgm:cxn modelId="{04689E68-86DB-4A13-8914-D4B7DDA913A3}" type="presParOf" srcId="{1B5CBEE9-F8A2-408C-8B3B-58911969F1E2}" destId="{D6A2841E-01E2-40BD-B1D8-D46467CC4F4A}" srcOrd="9" destOrd="0" presId="urn:microsoft.com/office/officeart/2005/8/layout/list1"/>
    <dgm:cxn modelId="{5286D8E2-47C2-4E98-B5B2-169B0C2EB522}" type="presParOf" srcId="{1B5CBEE9-F8A2-408C-8B3B-58911969F1E2}" destId="{8A25A5DE-9EF0-4A88-9F50-CEFCA011BAD0}" srcOrd="10" destOrd="0" presId="urn:microsoft.com/office/officeart/2005/8/layout/list1"/>
    <dgm:cxn modelId="{BCB0AD50-5E14-4C1E-901C-93BE89CE28C0}" type="presParOf" srcId="{1B5CBEE9-F8A2-408C-8B3B-58911969F1E2}" destId="{653D7DF7-D4A8-4D4A-8626-42484D8BE5E1}" srcOrd="11" destOrd="0" presId="urn:microsoft.com/office/officeart/2005/8/layout/list1"/>
    <dgm:cxn modelId="{D5FDFF8C-C53E-4834-A50C-BE9645B9D119}" type="presParOf" srcId="{1B5CBEE9-F8A2-408C-8B3B-58911969F1E2}" destId="{C9E4A87B-13C7-426B-97E4-255C7A157976}" srcOrd="12" destOrd="0" presId="urn:microsoft.com/office/officeart/2005/8/layout/list1"/>
    <dgm:cxn modelId="{4ECBB2D7-38A6-40DF-9627-4F55C275A137}" type="presParOf" srcId="{C9E4A87B-13C7-426B-97E4-255C7A157976}" destId="{82B48716-1DB5-4076-958A-67BC0AB92E7A}" srcOrd="0" destOrd="0" presId="urn:microsoft.com/office/officeart/2005/8/layout/list1"/>
    <dgm:cxn modelId="{8AD923EA-4B06-4052-8302-03E717BA1B7C}" type="presParOf" srcId="{C9E4A87B-13C7-426B-97E4-255C7A157976}" destId="{C9A61B2D-D319-463A-AFBE-88DE4735154E}" srcOrd="1" destOrd="0" presId="urn:microsoft.com/office/officeart/2005/8/layout/list1"/>
    <dgm:cxn modelId="{808AA74E-3081-4FA3-975E-A43A51CD8A58}" type="presParOf" srcId="{1B5CBEE9-F8A2-408C-8B3B-58911969F1E2}" destId="{490A0EC8-3E1F-458F-B157-66B22CF9EB4A}" srcOrd="13" destOrd="0" presId="urn:microsoft.com/office/officeart/2005/8/layout/list1"/>
    <dgm:cxn modelId="{9B90ECA9-096E-4748-BB45-914F62DDD69F}" type="presParOf" srcId="{1B5CBEE9-F8A2-408C-8B3B-58911969F1E2}" destId="{B9AF7D4E-5741-4510-A01A-1BD5421E9174}" srcOrd="14"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EB9B1A1-0D31-4E2E-AB20-BBC60539E84C}" type="doc">
      <dgm:prSet loTypeId="urn:microsoft.com/office/officeart/2005/8/layout/list1" loCatId="list" qsTypeId="urn:microsoft.com/office/officeart/2005/8/quickstyle/simple1" qsCatId="simple" csTypeId="urn:microsoft.com/office/officeart/2005/8/colors/colorful5" csCatId="colorful" phldr="1"/>
      <dgm:spPr/>
      <dgm:t>
        <a:bodyPr/>
        <a:lstStyle/>
        <a:p>
          <a:endParaRPr lang="en-US"/>
        </a:p>
      </dgm:t>
    </dgm:pt>
    <dgm:pt modelId="{921E94B1-24D6-4F32-8695-475DB47DBFE0}">
      <dgm:prSet/>
      <dgm:spPr/>
      <dgm:t>
        <a:bodyPr/>
        <a:lstStyle/>
        <a:p>
          <a:pPr rtl="0"/>
          <a:r>
            <a:rPr lang="en-US" dirty="0" smtClean="0"/>
            <a:t> Federated Identity</a:t>
          </a:r>
          <a:endParaRPr lang="en-US" dirty="0"/>
        </a:p>
      </dgm:t>
    </dgm:pt>
    <dgm:pt modelId="{98AB07B5-7A9C-4515-BCEC-30687D8E0D34}" type="parTrans" cxnId="{ADCFDC32-B3EC-470C-9FBE-CAF675ACD06E}">
      <dgm:prSet/>
      <dgm:spPr/>
      <dgm:t>
        <a:bodyPr/>
        <a:lstStyle/>
        <a:p>
          <a:endParaRPr lang="en-US"/>
        </a:p>
      </dgm:t>
    </dgm:pt>
    <dgm:pt modelId="{74A961DE-E8E4-44A7-BBE9-D6C77CCE100A}" type="sibTrans" cxnId="{ADCFDC32-B3EC-470C-9FBE-CAF675ACD06E}">
      <dgm:prSet/>
      <dgm:spPr/>
      <dgm:t>
        <a:bodyPr/>
        <a:lstStyle/>
        <a:p>
          <a:endParaRPr lang="en-US"/>
        </a:p>
      </dgm:t>
    </dgm:pt>
    <dgm:pt modelId="{59DFD1AC-B55B-435C-81C6-CB158673C313}">
      <dgm:prSet/>
      <dgm:spPr/>
      <dgm:t>
        <a:bodyPr/>
        <a:lstStyle/>
        <a:p>
          <a:r>
            <a:rPr lang="en-US" dirty="0" smtClean="0"/>
            <a:t> Gatekeeper</a:t>
          </a:r>
          <a:endParaRPr lang="en-US" dirty="0"/>
        </a:p>
      </dgm:t>
    </dgm:pt>
    <dgm:pt modelId="{089FCC58-B398-4F53-A5F8-B65933724CB0}" type="parTrans" cxnId="{FF31B088-5D91-4E7A-A411-31FC85AD23C6}">
      <dgm:prSet/>
      <dgm:spPr/>
      <dgm:t>
        <a:bodyPr/>
        <a:lstStyle/>
        <a:p>
          <a:endParaRPr lang="en-US"/>
        </a:p>
      </dgm:t>
    </dgm:pt>
    <dgm:pt modelId="{8A84534C-771B-413D-BEE2-6BD156CC5344}" type="sibTrans" cxnId="{FF31B088-5D91-4E7A-A411-31FC85AD23C6}">
      <dgm:prSet/>
      <dgm:spPr/>
      <dgm:t>
        <a:bodyPr/>
        <a:lstStyle/>
        <a:p>
          <a:endParaRPr lang="en-US"/>
        </a:p>
      </dgm:t>
    </dgm:pt>
    <dgm:pt modelId="{E81A095E-30CF-402C-8331-BC693AF4205D}">
      <dgm:prSet/>
      <dgm:spPr/>
      <dgm:t>
        <a:bodyPr/>
        <a:lstStyle/>
        <a:p>
          <a:r>
            <a:rPr lang="en-US" dirty="0" smtClean="0"/>
            <a:t> Health</a:t>
          </a:r>
        </a:p>
        <a:p>
          <a:r>
            <a:rPr lang="en-US" dirty="0" smtClean="0"/>
            <a:t>Endpoint</a:t>
          </a:r>
        </a:p>
        <a:p>
          <a:r>
            <a:rPr lang="en-US" dirty="0" smtClean="0"/>
            <a:t>Monitoring</a:t>
          </a:r>
          <a:endParaRPr lang="en-US" dirty="0"/>
        </a:p>
      </dgm:t>
    </dgm:pt>
    <dgm:pt modelId="{4786696F-2B9B-416B-8E04-D6D8BAA94438}" type="parTrans" cxnId="{B961AF1E-216C-4BB6-9EE5-7371E4FC1C1D}">
      <dgm:prSet/>
      <dgm:spPr/>
      <dgm:t>
        <a:bodyPr/>
        <a:lstStyle/>
        <a:p>
          <a:endParaRPr lang="en-US"/>
        </a:p>
      </dgm:t>
    </dgm:pt>
    <dgm:pt modelId="{6CCB7512-7B2D-4407-A223-5D1FD0E01C1B}" type="sibTrans" cxnId="{B961AF1E-216C-4BB6-9EE5-7371E4FC1C1D}">
      <dgm:prSet/>
      <dgm:spPr/>
      <dgm:t>
        <a:bodyPr/>
        <a:lstStyle/>
        <a:p>
          <a:endParaRPr lang="en-US"/>
        </a:p>
      </dgm:t>
    </dgm:pt>
    <dgm:pt modelId="{DAD1C729-3835-4292-B8AF-C734A9589CDA}">
      <dgm:prSet/>
      <dgm:spPr/>
      <dgm:t>
        <a:bodyPr/>
        <a:lstStyle/>
        <a:p>
          <a:r>
            <a:rPr lang="en-US" dirty="0" smtClean="0"/>
            <a:t> Index Table</a:t>
          </a:r>
        </a:p>
      </dgm:t>
    </dgm:pt>
    <dgm:pt modelId="{EF3CED3E-04D3-46C9-85D4-132182F90696}" type="parTrans" cxnId="{0B2752E5-F341-4A18-8A59-C15C3D1729CB}">
      <dgm:prSet/>
      <dgm:spPr/>
      <dgm:t>
        <a:bodyPr/>
        <a:lstStyle/>
        <a:p>
          <a:endParaRPr lang="en-US"/>
        </a:p>
      </dgm:t>
    </dgm:pt>
    <dgm:pt modelId="{69A9897C-4D55-452C-944B-789BFE17C8B5}" type="sibTrans" cxnId="{0B2752E5-F341-4A18-8A59-C15C3D1729CB}">
      <dgm:prSet/>
      <dgm:spPr/>
      <dgm:t>
        <a:bodyPr/>
        <a:lstStyle/>
        <a:p>
          <a:endParaRPr lang="en-US"/>
        </a:p>
      </dgm:t>
    </dgm:pt>
    <dgm:pt modelId="{72CBC948-13AD-4A9B-B0BB-214E626CE7CA}">
      <dgm:prSet/>
      <dgm:spPr/>
      <dgm:t>
        <a:bodyPr/>
        <a:lstStyle/>
        <a:p>
          <a:endParaRPr lang="en-US" dirty="0"/>
        </a:p>
      </dgm:t>
    </dgm:pt>
    <dgm:pt modelId="{C711E341-BD34-4496-B915-1F637885CB5E}" type="parTrans" cxnId="{D8BCEECA-AC1E-424C-BCA9-965198787EF6}">
      <dgm:prSet/>
      <dgm:spPr/>
      <dgm:t>
        <a:bodyPr/>
        <a:lstStyle/>
        <a:p>
          <a:endParaRPr lang="en-US"/>
        </a:p>
      </dgm:t>
    </dgm:pt>
    <dgm:pt modelId="{1BBEDC4C-A41C-4524-BE02-70660E1BE469}" type="sibTrans" cxnId="{D8BCEECA-AC1E-424C-BCA9-965198787EF6}">
      <dgm:prSet/>
      <dgm:spPr/>
      <dgm:t>
        <a:bodyPr/>
        <a:lstStyle/>
        <a:p>
          <a:endParaRPr lang="en-US"/>
        </a:p>
      </dgm:t>
    </dgm:pt>
    <dgm:pt modelId="{D9162FA9-B278-470E-BB1E-DB5D4077F40F}">
      <dgm:prSet/>
      <dgm:spPr/>
      <dgm:t>
        <a:bodyPr/>
        <a:lstStyle/>
        <a:p>
          <a:endParaRPr lang="en-US" dirty="0"/>
        </a:p>
      </dgm:t>
    </dgm:pt>
    <dgm:pt modelId="{0D8D35AF-789E-4525-96B6-51DB55142098}" type="parTrans" cxnId="{6F766BB1-42CF-4749-A2D6-9FEA3ABDAB9B}">
      <dgm:prSet/>
      <dgm:spPr/>
      <dgm:t>
        <a:bodyPr/>
        <a:lstStyle/>
        <a:p>
          <a:endParaRPr lang="en-US"/>
        </a:p>
      </dgm:t>
    </dgm:pt>
    <dgm:pt modelId="{77ED8538-D0C1-4A58-9CBD-E34BAE302DF3}" type="sibTrans" cxnId="{6F766BB1-42CF-4749-A2D6-9FEA3ABDAB9B}">
      <dgm:prSet/>
      <dgm:spPr/>
      <dgm:t>
        <a:bodyPr/>
        <a:lstStyle/>
        <a:p>
          <a:endParaRPr lang="en-US"/>
        </a:p>
      </dgm:t>
    </dgm:pt>
    <dgm:pt modelId="{2FE5DF42-1ED1-4710-89C2-427C64A13144}">
      <dgm:prSet/>
      <dgm:spPr/>
      <dgm:t>
        <a:bodyPr/>
        <a:lstStyle/>
        <a:p>
          <a:endParaRPr lang="en-US" dirty="0"/>
        </a:p>
      </dgm:t>
    </dgm:pt>
    <dgm:pt modelId="{912DB2FD-972A-4916-9703-E1289578FEAA}" type="parTrans" cxnId="{824741AA-8C0E-438C-B7B6-A3D2F3106144}">
      <dgm:prSet/>
      <dgm:spPr/>
      <dgm:t>
        <a:bodyPr/>
        <a:lstStyle/>
        <a:p>
          <a:endParaRPr lang="en-US"/>
        </a:p>
      </dgm:t>
    </dgm:pt>
    <dgm:pt modelId="{1A85EBA5-F5A2-4D84-8E05-2B1BECB661FC}" type="sibTrans" cxnId="{824741AA-8C0E-438C-B7B6-A3D2F3106144}">
      <dgm:prSet/>
      <dgm:spPr/>
      <dgm:t>
        <a:bodyPr/>
        <a:lstStyle/>
        <a:p>
          <a:endParaRPr lang="en-US"/>
        </a:p>
      </dgm:t>
    </dgm:pt>
    <dgm:pt modelId="{C91998ED-BB0C-4781-9440-9EE0778DE2D4}">
      <dgm:prSet/>
      <dgm:spPr/>
      <dgm:t>
        <a:bodyPr/>
        <a:lstStyle/>
        <a:p>
          <a:endParaRPr lang="en-US" dirty="0"/>
        </a:p>
      </dgm:t>
    </dgm:pt>
    <dgm:pt modelId="{843F7AB5-D3E7-4AE0-9C1E-01CC18C51A99}" type="sibTrans" cxnId="{D95F247E-3A76-4E25-BEEE-3E6552DD0142}">
      <dgm:prSet/>
      <dgm:spPr/>
      <dgm:t>
        <a:bodyPr/>
        <a:lstStyle/>
        <a:p>
          <a:endParaRPr lang="en-US"/>
        </a:p>
      </dgm:t>
    </dgm:pt>
    <dgm:pt modelId="{D0189AF6-71A6-44F8-91BC-425109888FF3}" type="parTrans" cxnId="{D95F247E-3A76-4E25-BEEE-3E6552DD0142}">
      <dgm:prSet/>
      <dgm:spPr/>
      <dgm:t>
        <a:bodyPr/>
        <a:lstStyle/>
        <a:p>
          <a:endParaRPr lang="en-US"/>
        </a:p>
      </dgm:t>
    </dgm:pt>
    <dgm:pt modelId="{AD0DD1F4-2131-468F-9926-E9ADCF6EA550}">
      <dgm:prSet/>
      <dgm:spPr/>
      <dgm:t>
        <a:bodyPr/>
        <a:lstStyle/>
        <a:p>
          <a:r>
            <a:rPr lang="en-US" dirty="0"/>
            <a:t>Delegate authentication to an external identity provider. This pattern can </a:t>
          </a:r>
          <a:r>
            <a:rPr lang="en-US" dirty="0" smtClean="0"/>
            <a:t>simplify development, minimize the requirement for user administration, and improve the user experience of the application</a:t>
          </a:r>
          <a:endParaRPr lang="en-US" dirty="0"/>
        </a:p>
      </dgm:t>
    </dgm:pt>
    <dgm:pt modelId="{9670609A-CC79-4F54-B3F7-40A1FC29BA0F}" type="parTrans" cxnId="{054E5E89-43C7-4052-B1EF-B11F8AEC39EC}">
      <dgm:prSet/>
      <dgm:spPr/>
      <dgm:t>
        <a:bodyPr/>
        <a:lstStyle/>
        <a:p>
          <a:endParaRPr lang="en-US"/>
        </a:p>
      </dgm:t>
    </dgm:pt>
    <dgm:pt modelId="{26AEB96E-31DF-4781-BE4B-B264076C9AB3}" type="sibTrans" cxnId="{054E5E89-43C7-4052-B1EF-B11F8AEC39EC}">
      <dgm:prSet/>
      <dgm:spPr/>
      <dgm:t>
        <a:bodyPr/>
        <a:lstStyle/>
        <a:p>
          <a:endParaRPr lang="en-US"/>
        </a:p>
      </dgm:t>
    </dgm:pt>
    <dgm:pt modelId="{A63E09B7-D21F-4A6A-B5D8-25FC73D21DA7}">
      <dgm:prSet/>
      <dgm:spPr/>
      <dgm:t>
        <a:bodyPr/>
        <a:lstStyle/>
        <a:p>
          <a:r>
            <a:rPr lang="en-US" dirty="0"/>
            <a:t>Protect applications and services by using a dedicated host instance that acts as a </a:t>
          </a:r>
          <a:r>
            <a:rPr lang="en-US" dirty="0" smtClean="0"/>
            <a:t>broker between clients and the application or service, validates and sanitizes requests, and passes requests and data between them. This pattern can provide an additional layer of security, and limit the attack surface of the system</a:t>
          </a:r>
          <a:endParaRPr lang="en-US" dirty="0"/>
        </a:p>
      </dgm:t>
    </dgm:pt>
    <dgm:pt modelId="{4D43AAEF-BDF1-4415-9B16-085DB6973124}" type="parTrans" cxnId="{93B247A2-874B-49C1-A197-4EF4B17F8CB9}">
      <dgm:prSet/>
      <dgm:spPr/>
      <dgm:t>
        <a:bodyPr/>
        <a:lstStyle/>
        <a:p>
          <a:endParaRPr lang="en-US"/>
        </a:p>
      </dgm:t>
    </dgm:pt>
    <dgm:pt modelId="{4F73A925-5C1D-45FF-83EC-03922C0949A8}" type="sibTrans" cxnId="{93B247A2-874B-49C1-A197-4EF4B17F8CB9}">
      <dgm:prSet/>
      <dgm:spPr/>
      <dgm:t>
        <a:bodyPr/>
        <a:lstStyle/>
        <a:p>
          <a:endParaRPr lang="en-US"/>
        </a:p>
      </dgm:t>
    </dgm:pt>
    <dgm:pt modelId="{99759F86-F055-4A62-AEAF-5607CA0C3035}">
      <dgm:prSet/>
      <dgm:spPr/>
      <dgm:t>
        <a:bodyPr/>
        <a:lstStyle/>
        <a:p>
          <a:r>
            <a:rPr lang="en-US" dirty="0"/>
            <a:t>Implement functional checks within an application that external tools can access </a:t>
          </a:r>
          <a:r>
            <a:rPr lang="en-US" dirty="0" smtClean="0"/>
            <a:t>through exposed endpoints at regular intervals. This pattern can help to verify that applications and services are performing correctly.</a:t>
          </a:r>
          <a:endParaRPr lang="en-US" dirty="0"/>
        </a:p>
      </dgm:t>
    </dgm:pt>
    <dgm:pt modelId="{070DAB73-9D64-4286-B852-BD4E27F33599}" type="parTrans" cxnId="{F95E004A-0758-469E-B952-3A1EE369DB21}">
      <dgm:prSet/>
      <dgm:spPr/>
      <dgm:t>
        <a:bodyPr/>
        <a:lstStyle/>
        <a:p>
          <a:endParaRPr lang="en-US"/>
        </a:p>
      </dgm:t>
    </dgm:pt>
    <dgm:pt modelId="{E0B611B9-872C-4D0D-895B-227EDE1711F8}" type="sibTrans" cxnId="{F95E004A-0758-469E-B952-3A1EE369DB21}">
      <dgm:prSet/>
      <dgm:spPr/>
      <dgm:t>
        <a:bodyPr/>
        <a:lstStyle/>
        <a:p>
          <a:endParaRPr lang="en-US"/>
        </a:p>
      </dgm:t>
    </dgm:pt>
    <dgm:pt modelId="{47E8909D-F28E-4198-9F31-1CE60F2D71E9}">
      <dgm:prSet/>
      <dgm:spPr/>
      <dgm:t>
        <a:bodyPr/>
        <a:lstStyle/>
        <a:p>
          <a:r>
            <a:rPr lang="en-US" dirty="0"/>
            <a:t>Create indexes over the fields in data stores that are frequently referenced by query criteria</a:t>
          </a:r>
          <a:r>
            <a:rPr lang="en-US" dirty="0" smtClean="0"/>
            <a:t>. This pattern can improve query performance by allowing applications to more quickly retrieve data from a data store.</a:t>
          </a:r>
          <a:endParaRPr lang="en-US" dirty="0"/>
        </a:p>
      </dgm:t>
    </dgm:pt>
    <dgm:pt modelId="{F5BA2C8C-257E-4362-AA0A-236288F04ECF}" type="parTrans" cxnId="{C3397BF7-0436-449D-A380-CBFA287F4870}">
      <dgm:prSet/>
      <dgm:spPr/>
      <dgm:t>
        <a:bodyPr/>
        <a:lstStyle/>
        <a:p>
          <a:endParaRPr lang="en-US"/>
        </a:p>
      </dgm:t>
    </dgm:pt>
    <dgm:pt modelId="{B46A5F2F-D345-4308-9773-3F636E214767}" type="sibTrans" cxnId="{C3397BF7-0436-449D-A380-CBFA287F4870}">
      <dgm:prSet/>
      <dgm:spPr/>
      <dgm:t>
        <a:bodyPr/>
        <a:lstStyle/>
        <a:p>
          <a:endParaRPr lang="en-US"/>
        </a:p>
      </dgm:t>
    </dgm:pt>
    <dgm:pt modelId="{4180B345-66F8-40E2-A14F-6DE96D9AC296}" type="pres">
      <dgm:prSet presAssocID="{8EB9B1A1-0D31-4E2E-AB20-BBC60539E84C}" presName="linear" presStyleCnt="0">
        <dgm:presLayoutVars>
          <dgm:dir/>
          <dgm:animLvl val="lvl"/>
          <dgm:resizeHandles val="exact"/>
        </dgm:presLayoutVars>
      </dgm:prSet>
      <dgm:spPr/>
      <dgm:t>
        <a:bodyPr/>
        <a:lstStyle/>
        <a:p>
          <a:endParaRPr lang="en-US"/>
        </a:p>
      </dgm:t>
    </dgm:pt>
    <dgm:pt modelId="{70299E90-6CC6-43DE-92C9-50199B212442}" type="pres">
      <dgm:prSet presAssocID="{921E94B1-24D6-4F32-8695-475DB47DBFE0}" presName="parentLin" presStyleCnt="0"/>
      <dgm:spPr/>
    </dgm:pt>
    <dgm:pt modelId="{5195C1BE-EAF9-4982-9653-134C4F1F37A8}" type="pres">
      <dgm:prSet presAssocID="{921E94B1-24D6-4F32-8695-475DB47DBFE0}" presName="parentLeftMargin" presStyleLbl="node1" presStyleIdx="0" presStyleCnt="4"/>
      <dgm:spPr/>
      <dgm:t>
        <a:bodyPr/>
        <a:lstStyle/>
        <a:p>
          <a:endParaRPr lang="en-US"/>
        </a:p>
      </dgm:t>
    </dgm:pt>
    <dgm:pt modelId="{16FBFE07-FC77-41E6-A699-6A973FB19374}" type="pres">
      <dgm:prSet presAssocID="{921E94B1-24D6-4F32-8695-475DB47DBFE0}" presName="parentText" presStyleLbl="node1" presStyleIdx="0" presStyleCnt="4">
        <dgm:presLayoutVars>
          <dgm:chMax val="0"/>
          <dgm:bulletEnabled val="1"/>
        </dgm:presLayoutVars>
      </dgm:prSet>
      <dgm:spPr/>
      <dgm:t>
        <a:bodyPr/>
        <a:lstStyle/>
        <a:p>
          <a:endParaRPr lang="en-US"/>
        </a:p>
      </dgm:t>
    </dgm:pt>
    <dgm:pt modelId="{0104B153-8EA6-47EC-B228-FB580805E7A8}" type="pres">
      <dgm:prSet presAssocID="{921E94B1-24D6-4F32-8695-475DB47DBFE0}" presName="negativeSpace" presStyleCnt="0"/>
      <dgm:spPr/>
    </dgm:pt>
    <dgm:pt modelId="{D4BB2DCF-41C8-49B8-8D82-DD4FB73B434A}" type="pres">
      <dgm:prSet presAssocID="{921E94B1-24D6-4F32-8695-475DB47DBFE0}" presName="childText" presStyleLbl="conFgAcc1" presStyleIdx="0" presStyleCnt="4">
        <dgm:presLayoutVars>
          <dgm:bulletEnabled val="1"/>
        </dgm:presLayoutVars>
      </dgm:prSet>
      <dgm:spPr/>
      <dgm:t>
        <a:bodyPr/>
        <a:lstStyle/>
        <a:p>
          <a:endParaRPr lang="en-US"/>
        </a:p>
      </dgm:t>
    </dgm:pt>
    <dgm:pt modelId="{103A833B-0A36-43C2-9871-B5356851FB40}" type="pres">
      <dgm:prSet presAssocID="{74A961DE-E8E4-44A7-BBE9-D6C77CCE100A}" presName="spaceBetweenRectangles" presStyleCnt="0"/>
      <dgm:spPr/>
    </dgm:pt>
    <dgm:pt modelId="{F152E24A-1B4A-47C2-B8EA-2AC9EEC9E267}" type="pres">
      <dgm:prSet presAssocID="{59DFD1AC-B55B-435C-81C6-CB158673C313}" presName="parentLin" presStyleCnt="0"/>
      <dgm:spPr/>
    </dgm:pt>
    <dgm:pt modelId="{1361078A-5390-4BC0-8593-77BDE8907E5D}" type="pres">
      <dgm:prSet presAssocID="{59DFD1AC-B55B-435C-81C6-CB158673C313}" presName="parentLeftMargin" presStyleLbl="node1" presStyleIdx="0" presStyleCnt="4"/>
      <dgm:spPr/>
      <dgm:t>
        <a:bodyPr/>
        <a:lstStyle/>
        <a:p>
          <a:endParaRPr lang="en-US"/>
        </a:p>
      </dgm:t>
    </dgm:pt>
    <dgm:pt modelId="{25F7318B-1ADE-43E7-ACEE-FFF987C4BC76}" type="pres">
      <dgm:prSet presAssocID="{59DFD1AC-B55B-435C-81C6-CB158673C313}" presName="parentText" presStyleLbl="node1" presStyleIdx="1" presStyleCnt="4">
        <dgm:presLayoutVars>
          <dgm:chMax val="0"/>
          <dgm:bulletEnabled val="1"/>
        </dgm:presLayoutVars>
      </dgm:prSet>
      <dgm:spPr/>
      <dgm:t>
        <a:bodyPr/>
        <a:lstStyle/>
        <a:p>
          <a:endParaRPr lang="en-US"/>
        </a:p>
      </dgm:t>
    </dgm:pt>
    <dgm:pt modelId="{1E3553F8-6A50-4074-BC00-444DD9A1180D}" type="pres">
      <dgm:prSet presAssocID="{59DFD1AC-B55B-435C-81C6-CB158673C313}" presName="negativeSpace" presStyleCnt="0"/>
      <dgm:spPr/>
    </dgm:pt>
    <dgm:pt modelId="{9C2B3909-4862-49C3-ABDE-FB168ABDAEAF}" type="pres">
      <dgm:prSet presAssocID="{59DFD1AC-B55B-435C-81C6-CB158673C313}" presName="childText" presStyleLbl="conFgAcc1" presStyleIdx="1" presStyleCnt="4">
        <dgm:presLayoutVars>
          <dgm:bulletEnabled val="1"/>
        </dgm:presLayoutVars>
      </dgm:prSet>
      <dgm:spPr/>
      <dgm:t>
        <a:bodyPr/>
        <a:lstStyle/>
        <a:p>
          <a:endParaRPr lang="en-US"/>
        </a:p>
      </dgm:t>
    </dgm:pt>
    <dgm:pt modelId="{1DCE305E-026F-4480-B438-CFF78AEC077A}" type="pres">
      <dgm:prSet presAssocID="{8A84534C-771B-413D-BEE2-6BD156CC5344}" presName="spaceBetweenRectangles" presStyleCnt="0"/>
      <dgm:spPr/>
    </dgm:pt>
    <dgm:pt modelId="{AB55D428-6D9F-454E-9D74-441B1AF3D6BA}" type="pres">
      <dgm:prSet presAssocID="{E81A095E-30CF-402C-8331-BC693AF4205D}" presName="parentLin" presStyleCnt="0"/>
      <dgm:spPr/>
    </dgm:pt>
    <dgm:pt modelId="{332B5822-8914-4F9F-AAA9-673538F43CEE}" type="pres">
      <dgm:prSet presAssocID="{E81A095E-30CF-402C-8331-BC693AF4205D}" presName="parentLeftMargin" presStyleLbl="node1" presStyleIdx="1" presStyleCnt="4"/>
      <dgm:spPr/>
      <dgm:t>
        <a:bodyPr/>
        <a:lstStyle/>
        <a:p>
          <a:endParaRPr lang="en-US"/>
        </a:p>
      </dgm:t>
    </dgm:pt>
    <dgm:pt modelId="{C0511A28-D88E-4125-9FEE-38EF910B7627}" type="pres">
      <dgm:prSet presAssocID="{E81A095E-30CF-402C-8331-BC693AF4205D}" presName="parentText" presStyleLbl="node1" presStyleIdx="2" presStyleCnt="4">
        <dgm:presLayoutVars>
          <dgm:chMax val="0"/>
          <dgm:bulletEnabled val="1"/>
        </dgm:presLayoutVars>
      </dgm:prSet>
      <dgm:spPr/>
      <dgm:t>
        <a:bodyPr/>
        <a:lstStyle/>
        <a:p>
          <a:endParaRPr lang="en-US"/>
        </a:p>
      </dgm:t>
    </dgm:pt>
    <dgm:pt modelId="{583B7258-D7FA-4C27-814C-3C9EBAF197ED}" type="pres">
      <dgm:prSet presAssocID="{E81A095E-30CF-402C-8331-BC693AF4205D}" presName="negativeSpace" presStyleCnt="0"/>
      <dgm:spPr/>
    </dgm:pt>
    <dgm:pt modelId="{F258ED91-5522-46AE-A618-918A375E826C}" type="pres">
      <dgm:prSet presAssocID="{E81A095E-30CF-402C-8331-BC693AF4205D}" presName="childText" presStyleLbl="conFgAcc1" presStyleIdx="2" presStyleCnt="4">
        <dgm:presLayoutVars>
          <dgm:bulletEnabled val="1"/>
        </dgm:presLayoutVars>
      </dgm:prSet>
      <dgm:spPr/>
      <dgm:t>
        <a:bodyPr/>
        <a:lstStyle/>
        <a:p>
          <a:endParaRPr lang="en-US"/>
        </a:p>
      </dgm:t>
    </dgm:pt>
    <dgm:pt modelId="{70348C9F-7919-42F5-B4E7-C68F6059E7F3}" type="pres">
      <dgm:prSet presAssocID="{6CCB7512-7B2D-4407-A223-5D1FD0E01C1B}" presName="spaceBetweenRectangles" presStyleCnt="0"/>
      <dgm:spPr/>
    </dgm:pt>
    <dgm:pt modelId="{8BF26A19-9F84-469A-9F83-8AEE1EE5068F}" type="pres">
      <dgm:prSet presAssocID="{DAD1C729-3835-4292-B8AF-C734A9589CDA}" presName="parentLin" presStyleCnt="0"/>
      <dgm:spPr/>
    </dgm:pt>
    <dgm:pt modelId="{582BF98F-16FF-4726-B7B6-A97F0EFDE5B1}" type="pres">
      <dgm:prSet presAssocID="{DAD1C729-3835-4292-B8AF-C734A9589CDA}" presName="parentLeftMargin" presStyleLbl="node1" presStyleIdx="2" presStyleCnt="4"/>
      <dgm:spPr/>
      <dgm:t>
        <a:bodyPr/>
        <a:lstStyle/>
        <a:p>
          <a:endParaRPr lang="en-US"/>
        </a:p>
      </dgm:t>
    </dgm:pt>
    <dgm:pt modelId="{7049F348-B3BE-4EC7-816C-63255DB3F37E}" type="pres">
      <dgm:prSet presAssocID="{DAD1C729-3835-4292-B8AF-C734A9589CDA}" presName="parentText" presStyleLbl="node1" presStyleIdx="3" presStyleCnt="4">
        <dgm:presLayoutVars>
          <dgm:chMax val="0"/>
          <dgm:bulletEnabled val="1"/>
        </dgm:presLayoutVars>
      </dgm:prSet>
      <dgm:spPr/>
      <dgm:t>
        <a:bodyPr/>
        <a:lstStyle/>
        <a:p>
          <a:endParaRPr lang="en-US"/>
        </a:p>
      </dgm:t>
    </dgm:pt>
    <dgm:pt modelId="{39D364FD-90E2-4973-8FD0-C12E71BA1A0C}" type="pres">
      <dgm:prSet presAssocID="{DAD1C729-3835-4292-B8AF-C734A9589CDA}" presName="negativeSpace" presStyleCnt="0"/>
      <dgm:spPr/>
    </dgm:pt>
    <dgm:pt modelId="{7E8E0CB4-A24E-4A4A-970D-DE24337AC90E}" type="pres">
      <dgm:prSet presAssocID="{DAD1C729-3835-4292-B8AF-C734A9589CDA}" presName="childText" presStyleLbl="conFgAcc1" presStyleIdx="3" presStyleCnt="4">
        <dgm:presLayoutVars>
          <dgm:bulletEnabled val="1"/>
        </dgm:presLayoutVars>
      </dgm:prSet>
      <dgm:spPr/>
      <dgm:t>
        <a:bodyPr/>
        <a:lstStyle/>
        <a:p>
          <a:endParaRPr lang="en-US"/>
        </a:p>
      </dgm:t>
    </dgm:pt>
  </dgm:ptLst>
  <dgm:cxnLst>
    <dgm:cxn modelId="{C3397BF7-0436-449D-A380-CBFA287F4870}" srcId="{DAD1C729-3835-4292-B8AF-C734A9589CDA}" destId="{47E8909D-F28E-4198-9F31-1CE60F2D71E9}" srcOrd="1" destOrd="0" parTransId="{F5BA2C8C-257E-4362-AA0A-236288F04ECF}" sibTransId="{B46A5F2F-D345-4308-9773-3F636E214767}"/>
    <dgm:cxn modelId="{6F766BB1-42CF-4749-A2D6-9FEA3ABDAB9B}" srcId="{E81A095E-30CF-402C-8331-BC693AF4205D}" destId="{D9162FA9-B278-470E-BB1E-DB5D4077F40F}" srcOrd="0" destOrd="0" parTransId="{0D8D35AF-789E-4525-96B6-51DB55142098}" sibTransId="{77ED8538-D0C1-4A58-9CBD-E34BAE302DF3}"/>
    <dgm:cxn modelId="{00A09184-D900-4FDC-9790-43265B851E45}" type="presOf" srcId="{47E8909D-F28E-4198-9F31-1CE60F2D71E9}" destId="{7E8E0CB4-A24E-4A4A-970D-DE24337AC90E}" srcOrd="0" destOrd="1" presId="urn:microsoft.com/office/officeart/2005/8/layout/list1"/>
    <dgm:cxn modelId="{D95F247E-3A76-4E25-BEEE-3E6552DD0142}" srcId="{921E94B1-24D6-4F32-8695-475DB47DBFE0}" destId="{C91998ED-BB0C-4781-9440-9EE0778DE2D4}" srcOrd="0" destOrd="0" parTransId="{D0189AF6-71A6-44F8-91BC-425109888FF3}" sibTransId="{843F7AB5-D3E7-4AE0-9C1E-01CC18C51A99}"/>
    <dgm:cxn modelId="{F83E0A4F-018E-4F9B-A443-F927B64B18CE}" type="presOf" srcId="{E81A095E-30CF-402C-8331-BC693AF4205D}" destId="{332B5822-8914-4F9F-AAA9-673538F43CEE}" srcOrd="0" destOrd="0" presId="urn:microsoft.com/office/officeart/2005/8/layout/list1"/>
    <dgm:cxn modelId="{B961AF1E-216C-4BB6-9EE5-7371E4FC1C1D}" srcId="{8EB9B1A1-0D31-4E2E-AB20-BBC60539E84C}" destId="{E81A095E-30CF-402C-8331-BC693AF4205D}" srcOrd="2" destOrd="0" parTransId="{4786696F-2B9B-416B-8E04-D6D8BAA94438}" sibTransId="{6CCB7512-7B2D-4407-A223-5D1FD0E01C1B}"/>
    <dgm:cxn modelId="{0BE5F48F-9B91-4317-BDBB-5F7D7C26D1B8}" type="presOf" srcId="{2FE5DF42-1ED1-4710-89C2-427C64A13144}" destId="{7E8E0CB4-A24E-4A4A-970D-DE24337AC90E}" srcOrd="0" destOrd="0" presId="urn:microsoft.com/office/officeart/2005/8/layout/list1"/>
    <dgm:cxn modelId="{F95E004A-0758-469E-B952-3A1EE369DB21}" srcId="{E81A095E-30CF-402C-8331-BC693AF4205D}" destId="{99759F86-F055-4A62-AEAF-5607CA0C3035}" srcOrd="1" destOrd="0" parTransId="{070DAB73-9D64-4286-B852-BD4E27F33599}" sibTransId="{E0B611B9-872C-4D0D-895B-227EDE1711F8}"/>
    <dgm:cxn modelId="{D87CACF6-8B9B-42C2-A951-33FA47F1338F}" type="presOf" srcId="{921E94B1-24D6-4F32-8695-475DB47DBFE0}" destId="{16FBFE07-FC77-41E6-A699-6A973FB19374}" srcOrd="1" destOrd="0" presId="urn:microsoft.com/office/officeart/2005/8/layout/list1"/>
    <dgm:cxn modelId="{824741AA-8C0E-438C-B7B6-A3D2F3106144}" srcId="{DAD1C729-3835-4292-B8AF-C734A9589CDA}" destId="{2FE5DF42-1ED1-4710-89C2-427C64A13144}" srcOrd="0" destOrd="0" parTransId="{912DB2FD-972A-4916-9703-E1289578FEAA}" sibTransId="{1A85EBA5-F5A2-4D84-8E05-2B1BECB661FC}"/>
    <dgm:cxn modelId="{FF31B088-5D91-4E7A-A411-31FC85AD23C6}" srcId="{8EB9B1A1-0D31-4E2E-AB20-BBC60539E84C}" destId="{59DFD1AC-B55B-435C-81C6-CB158673C313}" srcOrd="1" destOrd="0" parTransId="{089FCC58-B398-4F53-A5F8-B65933724CB0}" sibTransId="{8A84534C-771B-413D-BEE2-6BD156CC5344}"/>
    <dgm:cxn modelId="{ADCFDC32-B3EC-470C-9FBE-CAF675ACD06E}" srcId="{8EB9B1A1-0D31-4E2E-AB20-BBC60539E84C}" destId="{921E94B1-24D6-4F32-8695-475DB47DBFE0}" srcOrd="0" destOrd="0" parTransId="{98AB07B5-7A9C-4515-BCEC-30687D8E0D34}" sibTransId="{74A961DE-E8E4-44A7-BBE9-D6C77CCE100A}"/>
    <dgm:cxn modelId="{9582E069-BDDB-44C3-81BD-44487A63B960}" type="presOf" srcId="{D9162FA9-B278-470E-BB1E-DB5D4077F40F}" destId="{F258ED91-5522-46AE-A618-918A375E826C}" srcOrd="0" destOrd="0" presId="urn:microsoft.com/office/officeart/2005/8/layout/list1"/>
    <dgm:cxn modelId="{1B13BE48-491D-4A6C-8B19-E08774865FF1}" type="presOf" srcId="{DAD1C729-3835-4292-B8AF-C734A9589CDA}" destId="{582BF98F-16FF-4726-B7B6-A97F0EFDE5B1}" srcOrd="0" destOrd="0" presId="urn:microsoft.com/office/officeart/2005/8/layout/list1"/>
    <dgm:cxn modelId="{BE95FB21-0D9A-431E-AEEB-67DC98512B42}" type="presOf" srcId="{59DFD1AC-B55B-435C-81C6-CB158673C313}" destId="{25F7318B-1ADE-43E7-ACEE-FFF987C4BC76}" srcOrd="1" destOrd="0" presId="urn:microsoft.com/office/officeart/2005/8/layout/list1"/>
    <dgm:cxn modelId="{4941EEAC-B581-4D76-B330-EEDFF98299CD}" type="presOf" srcId="{99759F86-F055-4A62-AEAF-5607CA0C3035}" destId="{F258ED91-5522-46AE-A618-918A375E826C}" srcOrd="0" destOrd="1" presId="urn:microsoft.com/office/officeart/2005/8/layout/list1"/>
    <dgm:cxn modelId="{0B2752E5-F341-4A18-8A59-C15C3D1729CB}" srcId="{8EB9B1A1-0D31-4E2E-AB20-BBC60539E84C}" destId="{DAD1C729-3835-4292-B8AF-C734A9589CDA}" srcOrd="3" destOrd="0" parTransId="{EF3CED3E-04D3-46C9-85D4-132182F90696}" sibTransId="{69A9897C-4D55-452C-944B-789BFE17C8B5}"/>
    <dgm:cxn modelId="{66B07D59-CD8B-4074-BB81-E5E679CA018F}" type="presOf" srcId="{AD0DD1F4-2131-468F-9926-E9ADCF6EA550}" destId="{D4BB2DCF-41C8-49B8-8D82-DD4FB73B434A}" srcOrd="0" destOrd="1" presId="urn:microsoft.com/office/officeart/2005/8/layout/list1"/>
    <dgm:cxn modelId="{99B1CEED-FF5D-4F75-8D6A-69730AB5CCFA}" type="presOf" srcId="{A63E09B7-D21F-4A6A-B5D8-25FC73D21DA7}" destId="{9C2B3909-4862-49C3-ABDE-FB168ABDAEAF}" srcOrd="0" destOrd="1" presId="urn:microsoft.com/office/officeart/2005/8/layout/list1"/>
    <dgm:cxn modelId="{B6DACC5E-5270-4DD6-8E39-AAC7B8F5F92B}" type="presOf" srcId="{921E94B1-24D6-4F32-8695-475DB47DBFE0}" destId="{5195C1BE-EAF9-4982-9653-134C4F1F37A8}" srcOrd="0" destOrd="0" presId="urn:microsoft.com/office/officeart/2005/8/layout/list1"/>
    <dgm:cxn modelId="{6C97FEA8-DCBB-44C0-808C-DA00CC8B2909}" type="presOf" srcId="{C91998ED-BB0C-4781-9440-9EE0778DE2D4}" destId="{D4BB2DCF-41C8-49B8-8D82-DD4FB73B434A}" srcOrd="0" destOrd="0" presId="urn:microsoft.com/office/officeart/2005/8/layout/list1"/>
    <dgm:cxn modelId="{58C7747D-EECC-4823-8706-07CBB260DDE2}" type="presOf" srcId="{59DFD1AC-B55B-435C-81C6-CB158673C313}" destId="{1361078A-5390-4BC0-8593-77BDE8907E5D}" srcOrd="0" destOrd="0" presId="urn:microsoft.com/office/officeart/2005/8/layout/list1"/>
    <dgm:cxn modelId="{DE999F36-69BB-4002-9388-D8635D7EFF4E}" type="presOf" srcId="{8EB9B1A1-0D31-4E2E-AB20-BBC60539E84C}" destId="{4180B345-66F8-40E2-A14F-6DE96D9AC296}" srcOrd="0" destOrd="0" presId="urn:microsoft.com/office/officeart/2005/8/layout/list1"/>
    <dgm:cxn modelId="{93B247A2-874B-49C1-A197-4EF4B17F8CB9}" srcId="{59DFD1AC-B55B-435C-81C6-CB158673C313}" destId="{A63E09B7-D21F-4A6A-B5D8-25FC73D21DA7}" srcOrd="1" destOrd="0" parTransId="{4D43AAEF-BDF1-4415-9B16-085DB6973124}" sibTransId="{4F73A925-5C1D-45FF-83EC-03922C0949A8}"/>
    <dgm:cxn modelId="{D8BCEECA-AC1E-424C-BCA9-965198787EF6}" srcId="{59DFD1AC-B55B-435C-81C6-CB158673C313}" destId="{72CBC948-13AD-4A9B-B0BB-214E626CE7CA}" srcOrd="0" destOrd="0" parTransId="{C711E341-BD34-4496-B915-1F637885CB5E}" sibTransId="{1BBEDC4C-A41C-4524-BE02-70660E1BE469}"/>
    <dgm:cxn modelId="{893E25DA-EFCF-4815-A5C3-1E4C1CD46FBE}" type="presOf" srcId="{DAD1C729-3835-4292-B8AF-C734A9589CDA}" destId="{7049F348-B3BE-4EC7-816C-63255DB3F37E}" srcOrd="1" destOrd="0" presId="urn:microsoft.com/office/officeart/2005/8/layout/list1"/>
    <dgm:cxn modelId="{5B502A11-741B-4926-AB48-4A05ECE0F206}" type="presOf" srcId="{72CBC948-13AD-4A9B-B0BB-214E626CE7CA}" destId="{9C2B3909-4862-49C3-ABDE-FB168ABDAEAF}" srcOrd="0" destOrd="0" presId="urn:microsoft.com/office/officeart/2005/8/layout/list1"/>
    <dgm:cxn modelId="{7426EF91-F919-46F6-8947-8249441F3009}" type="presOf" srcId="{E81A095E-30CF-402C-8331-BC693AF4205D}" destId="{C0511A28-D88E-4125-9FEE-38EF910B7627}" srcOrd="1" destOrd="0" presId="urn:microsoft.com/office/officeart/2005/8/layout/list1"/>
    <dgm:cxn modelId="{054E5E89-43C7-4052-B1EF-B11F8AEC39EC}" srcId="{921E94B1-24D6-4F32-8695-475DB47DBFE0}" destId="{AD0DD1F4-2131-468F-9926-E9ADCF6EA550}" srcOrd="1" destOrd="0" parTransId="{9670609A-CC79-4F54-B3F7-40A1FC29BA0F}" sibTransId="{26AEB96E-31DF-4781-BE4B-B264076C9AB3}"/>
    <dgm:cxn modelId="{CD1320E9-BDE4-45A4-B9C3-BEEB7E21B18A}" type="presParOf" srcId="{4180B345-66F8-40E2-A14F-6DE96D9AC296}" destId="{70299E90-6CC6-43DE-92C9-50199B212442}" srcOrd="0" destOrd="0" presId="urn:microsoft.com/office/officeart/2005/8/layout/list1"/>
    <dgm:cxn modelId="{8F64BFBE-8ED4-4A24-A135-166EC2B9C811}" type="presParOf" srcId="{70299E90-6CC6-43DE-92C9-50199B212442}" destId="{5195C1BE-EAF9-4982-9653-134C4F1F37A8}" srcOrd="0" destOrd="0" presId="urn:microsoft.com/office/officeart/2005/8/layout/list1"/>
    <dgm:cxn modelId="{56373889-A0F1-44A2-B593-A9434AB252ED}" type="presParOf" srcId="{70299E90-6CC6-43DE-92C9-50199B212442}" destId="{16FBFE07-FC77-41E6-A699-6A973FB19374}" srcOrd="1" destOrd="0" presId="urn:microsoft.com/office/officeart/2005/8/layout/list1"/>
    <dgm:cxn modelId="{10E6540C-34C3-499F-8C94-7DC6D1FA6093}" type="presParOf" srcId="{4180B345-66F8-40E2-A14F-6DE96D9AC296}" destId="{0104B153-8EA6-47EC-B228-FB580805E7A8}" srcOrd="1" destOrd="0" presId="urn:microsoft.com/office/officeart/2005/8/layout/list1"/>
    <dgm:cxn modelId="{FA1B509C-5B80-43FA-A1C1-C2B811AF5259}" type="presParOf" srcId="{4180B345-66F8-40E2-A14F-6DE96D9AC296}" destId="{D4BB2DCF-41C8-49B8-8D82-DD4FB73B434A}" srcOrd="2" destOrd="0" presId="urn:microsoft.com/office/officeart/2005/8/layout/list1"/>
    <dgm:cxn modelId="{3DF8B1D4-8227-476D-A598-51E766EA01B0}" type="presParOf" srcId="{4180B345-66F8-40E2-A14F-6DE96D9AC296}" destId="{103A833B-0A36-43C2-9871-B5356851FB40}" srcOrd="3" destOrd="0" presId="urn:microsoft.com/office/officeart/2005/8/layout/list1"/>
    <dgm:cxn modelId="{7654A948-FCF3-49ED-B387-8CB421158D14}" type="presParOf" srcId="{4180B345-66F8-40E2-A14F-6DE96D9AC296}" destId="{F152E24A-1B4A-47C2-B8EA-2AC9EEC9E267}" srcOrd="4" destOrd="0" presId="urn:microsoft.com/office/officeart/2005/8/layout/list1"/>
    <dgm:cxn modelId="{EC4F4EA3-8BA6-4CC5-8AAC-7A14BBFAF92E}" type="presParOf" srcId="{F152E24A-1B4A-47C2-B8EA-2AC9EEC9E267}" destId="{1361078A-5390-4BC0-8593-77BDE8907E5D}" srcOrd="0" destOrd="0" presId="urn:microsoft.com/office/officeart/2005/8/layout/list1"/>
    <dgm:cxn modelId="{3B56CD42-0475-4D62-B5E9-7BBA964472DA}" type="presParOf" srcId="{F152E24A-1B4A-47C2-B8EA-2AC9EEC9E267}" destId="{25F7318B-1ADE-43E7-ACEE-FFF987C4BC76}" srcOrd="1" destOrd="0" presId="urn:microsoft.com/office/officeart/2005/8/layout/list1"/>
    <dgm:cxn modelId="{12FD499F-DCA0-4631-B157-90FF51CB05AC}" type="presParOf" srcId="{4180B345-66F8-40E2-A14F-6DE96D9AC296}" destId="{1E3553F8-6A50-4074-BC00-444DD9A1180D}" srcOrd="5" destOrd="0" presId="urn:microsoft.com/office/officeart/2005/8/layout/list1"/>
    <dgm:cxn modelId="{F17C5B35-3410-47A1-BE80-F1486D3188D1}" type="presParOf" srcId="{4180B345-66F8-40E2-A14F-6DE96D9AC296}" destId="{9C2B3909-4862-49C3-ABDE-FB168ABDAEAF}" srcOrd="6" destOrd="0" presId="urn:microsoft.com/office/officeart/2005/8/layout/list1"/>
    <dgm:cxn modelId="{A82114DC-9F59-42A5-81B0-26D22278E9D1}" type="presParOf" srcId="{4180B345-66F8-40E2-A14F-6DE96D9AC296}" destId="{1DCE305E-026F-4480-B438-CFF78AEC077A}" srcOrd="7" destOrd="0" presId="urn:microsoft.com/office/officeart/2005/8/layout/list1"/>
    <dgm:cxn modelId="{247E84CD-9A20-4394-B106-9DDD0D4036C9}" type="presParOf" srcId="{4180B345-66F8-40E2-A14F-6DE96D9AC296}" destId="{AB55D428-6D9F-454E-9D74-441B1AF3D6BA}" srcOrd="8" destOrd="0" presId="urn:microsoft.com/office/officeart/2005/8/layout/list1"/>
    <dgm:cxn modelId="{94401FDE-700C-400F-8417-E33B68D9D4FF}" type="presParOf" srcId="{AB55D428-6D9F-454E-9D74-441B1AF3D6BA}" destId="{332B5822-8914-4F9F-AAA9-673538F43CEE}" srcOrd="0" destOrd="0" presId="urn:microsoft.com/office/officeart/2005/8/layout/list1"/>
    <dgm:cxn modelId="{B5B0CFDB-2614-4266-A871-5C2DBCF3EE1A}" type="presParOf" srcId="{AB55D428-6D9F-454E-9D74-441B1AF3D6BA}" destId="{C0511A28-D88E-4125-9FEE-38EF910B7627}" srcOrd="1" destOrd="0" presId="urn:microsoft.com/office/officeart/2005/8/layout/list1"/>
    <dgm:cxn modelId="{A6B2DF28-CECA-4D28-83DC-FF37A9435502}" type="presParOf" srcId="{4180B345-66F8-40E2-A14F-6DE96D9AC296}" destId="{583B7258-D7FA-4C27-814C-3C9EBAF197ED}" srcOrd="9" destOrd="0" presId="urn:microsoft.com/office/officeart/2005/8/layout/list1"/>
    <dgm:cxn modelId="{0D178F1E-E84E-41FD-BE1C-45B51D3678A1}" type="presParOf" srcId="{4180B345-66F8-40E2-A14F-6DE96D9AC296}" destId="{F258ED91-5522-46AE-A618-918A375E826C}" srcOrd="10" destOrd="0" presId="urn:microsoft.com/office/officeart/2005/8/layout/list1"/>
    <dgm:cxn modelId="{216D93A7-06BC-4339-913F-C6BE77110888}" type="presParOf" srcId="{4180B345-66F8-40E2-A14F-6DE96D9AC296}" destId="{70348C9F-7919-42F5-B4E7-C68F6059E7F3}" srcOrd="11" destOrd="0" presId="urn:microsoft.com/office/officeart/2005/8/layout/list1"/>
    <dgm:cxn modelId="{9F5A59EB-1D81-4AEC-9ECB-0518DC5911A3}" type="presParOf" srcId="{4180B345-66F8-40E2-A14F-6DE96D9AC296}" destId="{8BF26A19-9F84-469A-9F83-8AEE1EE5068F}" srcOrd="12" destOrd="0" presId="urn:microsoft.com/office/officeart/2005/8/layout/list1"/>
    <dgm:cxn modelId="{E20EB704-5795-43F4-91F3-92900906F1C1}" type="presParOf" srcId="{8BF26A19-9F84-469A-9F83-8AEE1EE5068F}" destId="{582BF98F-16FF-4726-B7B6-A97F0EFDE5B1}" srcOrd="0" destOrd="0" presId="urn:microsoft.com/office/officeart/2005/8/layout/list1"/>
    <dgm:cxn modelId="{316220F1-47F0-4219-9DEC-128AC8C85314}" type="presParOf" srcId="{8BF26A19-9F84-469A-9F83-8AEE1EE5068F}" destId="{7049F348-B3BE-4EC7-816C-63255DB3F37E}" srcOrd="1" destOrd="0" presId="urn:microsoft.com/office/officeart/2005/8/layout/list1"/>
    <dgm:cxn modelId="{2A240917-07BD-4D13-BA1C-BABE58875E06}" type="presParOf" srcId="{4180B345-66F8-40E2-A14F-6DE96D9AC296}" destId="{39D364FD-90E2-4973-8FD0-C12E71BA1A0C}" srcOrd="13" destOrd="0" presId="urn:microsoft.com/office/officeart/2005/8/layout/list1"/>
    <dgm:cxn modelId="{EECA1922-D5D2-4A25-92BC-A54F9541F078}" type="presParOf" srcId="{4180B345-66F8-40E2-A14F-6DE96D9AC296}" destId="{7E8E0CB4-A24E-4A4A-970D-DE24337AC90E}" srcOrd="14"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EB9B1A1-0D31-4E2E-AB20-BBC60539E84C}" type="doc">
      <dgm:prSet loTypeId="urn:microsoft.com/office/officeart/2005/8/layout/list1" loCatId="list" qsTypeId="urn:microsoft.com/office/officeart/2005/8/quickstyle/simple1" qsCatId="simple" csTypeId="urn:microsoft.com/office/officeart/2005/8/colors/colorful5" csCatId="colorful" phldr="1"/>
      <dgm:spPr/>
      <dgm:t>
        <a:bodyPr/>
        <a:lstStyle/>
        <a:p>
          <a:endParaRPr lang="en-US"/>
        </a:p>
      </dgm:t>
    </dgm:pt>
    <dgm:pt modelId="{921E94B1-24D6-4F32-8695-475DB47DBFE0}">
      <dgm:prSet/>
      <dgm:spPr/>
      <dgm:t>
        <a:bodyPr/>
        <a:lstStyle/>
        <a:p>
          <a:pPr rtl="0"/>
          <a:r>
            <a:rPr lang="en-US" dirty="0" smtClean="0"/>
            <a:t> Leader Election</a:t>
          </a:r>
          <a:endParaRPr lang="en-US" dirty="0"/>
        </a:p>
      </dgm:t>
    </dgm:pt>
    <dgm:pt modelId="{98AB07B5-7A9C-4515-BCEC-30687D8E0D34}" type="parTrans" cxnId="{ADCFDC32-B3EC-470C-9FBE-CAF675ACD06E}">
      <dgm:prSet/>
      <dgm:spPr/>
      <dgm:t>
        <a:bodyPr/>
        <a:lstStyle/>
        <a:p>
          <a:endParaRPr lang="en-US"/>
        </a:p>
      </dgm:t>
    </dgm:pt>
    <dgm:pt modelId="{74A961DE-E8E4-44A7-BBE9-D6C77CCE100A}" type="sibTrans" cxnId="{ADCFDC32-B3EC-470C-9FBE-CAF675ACD06E}">
      <dgm:prSet/>
      <dgm:spPr/>
      <dgm:t>
        <a:bodyPr/>
        <a:lstStyle/>
        <a:p>
          <a:endParaRPr lang="en-US"/>
        </a:p>
      </dgm:t>
    </dgm:pt>
    <dgm:pt modelId="{59DFD1AC-B55B-435C-81C6-CB158673C313}">
      <dgm:prSet/>
      <dgm:spPr/>
      <dgm:t>
        <a:bodyPr/>
        <a:lstStyle/>
        <a:p>
          <a:r>
            <a:rPr lang="en-US" dirty="0" smtClean="0"/>
            <a:t> Materialized View</a:t>
          </a:r>
          <a:endParaRPr lang="en-US" dirty="0"/>
        </a:p>
      </dgm:t>
    </dgm:pt>
    <dgm:pt modelId="{089FCC58-B398-4F53-A5F8-B65933724CB0}" type="parTrans" cxnId="{FF31B088-5D91-4E7A-A411-31FC85AD23C6}">
      <dgm:prSet/>
      <dgm:spPr/>
      <dgm:t>
        <a:bodyPr/>
        <a:lstStyle/>
        <a:p>
          <a:endParaRPr lang="en-US"/>
        </a:p>
      </dgm:t>
    </dgm:pt>
    <dgm:pt modelId="{8A84534C-771B-413D-BEE2-6BD156CC5344}" type="sibTrans" cxnId="{FF31B088-5D91-4E7A-A411-31FC85AD23C6}">
      <dgm:prSet/>
      <dgm:spPr/>
      <dgm:t>
        <a:bodyPr/>
        <a:lstStyle/>
        <a:p>
          <a:endParaRPr lang="en-US"/>
        </a:p>
      </dgm:t>
    </dgm:pt>
    <dgm:pt modelId="{E81A095E-30CF-402C-8331-BC693AF4205D}">
      <dgm:prSet/>
      <dgm:spPr/>
      <dgm:t>
        <a:bodyPr/>
        <a:lstStyle/>
        <a:p>
          <a:r>
            <a:rPr lang="en-US" dirty="0" smtClean="0"/>
            <a:t> Pipes and Filters</a:t>
          </a:r>
          <a:endParaRPr lang="en-US" dirty="0"/>
        </a:p>
      </dgm:t>
    </dgm:pt>
    <dgm:pt modelId="{4786696F-2B9B-416B-8E04-D6D8BAA94438}" type="parTrans" cxnId="{B961AF1E-216C-4BB6-9EE5-7371E4FC1C1D}">
      <dgm:prSet/>
      <dgm:spPr/>
      <dgm:t>
        <a:bodyPr/>
        <a:lstStyle/>
        <a:p>
          <a:endParaRPr lang="en-US"/>
        </a:p>
      </dgm:t>
    </dgm:pt>
    <dgm:pt modelId="{6CCB7512-7B2D-4407-A223-5D1FD0E01C1B}" type="sibTrans" cxnId="{B961AF1E-216C-4BB6-9EE5-7371E4FC1C1D}">
      <dgm:prSet/>
      <dgm:spPr/>
      <dgm:t>
        <a:bodyPr/>
        <a:lstStyle/>
        <a:p>
          <a:endParaRPr lang="en-US"/>
        </a:p>
      </dgm:t>
    </dgm:pt>
    <dgm:pt modelId="{DAD1C729-3835-4292-B8AF-C734A9589CDA}">
      <dgm:prSet/>
      <dgm:spPr/>
      <dgm:t>
        <a:bodyPr/>
        <a:lstStyle/>
        <a:p>
          <a:r>
            <a:rPr lang="en-US" dirty="0" smtClean="0"/>
            <a:t> Priority Queue</a:t>
          </a:r>
        </a:p>
      </dgm:t>
    </dgm:pt>
    <dgm:pt modelId="{EF3CED3E-04D3-46C9-85D4-132182F90696}" type="parTrans" cxnId="{0B2752E5-F341-4A18-8A59-C15C3D1729CB}">
      <dgm:prSet/>
      <dgm:spPr/>
      <dgm:t>
        <a:bodyPr/>
        <a:lstStyle/>
        <a:p>
          <a:endParaRPr lang="en-US"/>
        </a:p>
      </dgm:t>
    </dgm:pt>
    <dgm:pt modelId="{69A9897C-4D55-452C-944B-789BFE17C8B5}" type="sibTrans" cxnId="{0B2752E5-F341-4A18-8A59-C15C3D1729CB}">
      <dgm:prSet/>
      <dgm:spPr/>
      <dgm:t>
        <a:bodyPr/>
        <a:lstStyle/>
        <a:p>
          <a:endParaRPr lang="en-US"/>
        </a:p>
      </dgm:t>
    </dgm:pt>
    <dgm:pt modelId="{72CBC948-13AD-4A9B-B0BB-214E626CE7CA}">
      <dgm:prSet/>
      <dgm:spPr/>
      <dgm:t>
        <a:bodyPr/>
        <a:lstStyle/>
        <a:p>
          <a:endParaRPr lang="en-US" dirty="0"/>
        </a:p>
      </dgm:t>
    </dgm:pt>
    <dgm:pt modelId="{C711E341-BD34-4496-B915-1F637885CB5E}" type="parTrans" cxnId="{D8BCEECA-AC1E-424C-BCA9-965198787EF6}">
      <dgm:prSet/>
      <dgm:spPr/>
      <dgm:t>
        <a:bodyPr/>
        <a:lstStyle/>
        <a:p>
          <a:endParaRPr lang="en-US"/>
        </a:p>
      </dgm:t>
    </dgm:pt>
    <dgm:pt modelId="{1BBEDC4C-A41C-4524-BE02-70660E1BE469}" type="sibTrans" cxnId="{D8BCEECA-AC1E-424C-BCA9-965198787EF6}">
      <dgm:prSet/>
      <dgm:spPr/>
      <dgm:t>
        <a:bodyPr/>
        <a:lstStyle/>
        <a:p>
          <a:endParaRPr lang="en-US"/>
        </a:p>
      </dgm:t>
    </dgm:pt>
    <dgm:pt modelId="{D9162FA9-B278-470E-BB1E-DB5D4077F40F}">
      <dgm:prSet/>
      <dgm:spPr/>
      <dgm:t>
        <a:bodyPr/>
        <a:lstStyle/>
        <a:p>
          <a:endParaRPr lang="en-US" dirty="0"/>
        </a:p>
      </dgm:t>
    </dgm:pt>
    <dgm:pt modelId="{0D8D35AF-789E-4525-96B6-51DB55142098}" type="parTrans" cxnId="{6F766BB1-42CF-4749-A2D6-9FEA3ABDAB9B}">
      <dgm:prSet/>
      <dgm:spPr/>
      <dgm:t>
        <a:bodyPr/>
        <a:lstStyle/>
        <a:p>
          <a:endParaRPr lang="en-US"/>
        </a:p>
      </dgm:t>
    </dgm:pt>
    <dgm:pt modelId="{77ED8538-D0C1-4A58-9CBD-E34BAE302DF3}" type="sibTrans" cxnId="{6F766BB1-42CF-4749-A2D6-9FEA3ABDAB9B}">
      <dgm:prSet/>
      <dgm:spPr/>
      <dgm:t>
        <a:bodyPr/>
        <a:lstStyle/>
        <a:p>
          <a:endParaRPr lang="en-US"/>
        </a:p>
      </dgm:t>
    </dgm:pt>
    <dgm:pt modelId="{2FE5DF42-1ED1-4710-89C2-427C64A13144}">
      <dgm:prSet/>
      <dgm:spPr/>
      <dgm:t>
        <a:bodyPr/>
        <a:lstStyle/>
        <a:p>
          <a:endParaRPr lang="en-US" dirty="0"/>
        </a:p>
      </dgm:t>
    </dgm:pt>
    <dgm:pt modelId="{912DB2FD-972A-4916-9703-E1289578FEAA}" type="parTrans" cxnId="{824741AA-8C0E-438C-B7B6-A3D2F3106144}">
      <dgm:prSet/>
      <dgm:spPr/>
      <dgm:t>
        <a:bodyPr/>
        <a:lstStyle/>
        <a:p>
          <a:endParaRPr lang="en-US"/>
        </a:p>
      </dgm:t>
    </dgm:pt>
    <dgm:pt modelId="{1A85EBA5-F5A2-4D84-8E05-2B1BECB661FC}" type="sibTrans" cxnId="{824741AA-8C0E-438C-B7B6-A3D2F3106144}">
      <dgm:prSet/>
      <dgm:spPr/>
      <dgm:t>
        <a:bodyPr/>
        <a:lstStyle/>
        <a:p>
          <a:endParaRPr lang="en-US"/>
        </a:p>
      </dgm:t>
    </dgm:pt>
    <dgm:pt modelId="{C91998ED-BB0C-4781-9440-9EE0778DE2D4}">
      <dgm:prSet/>
      <dgm:spPr/>
      <dgm:t>
        <a:bodyPr/>
        <a:lstStyle/>
        <a:p>
          <a:endParaRPr lang="en-US" dirty="0"/>
        </a:p>
      </dgm:t>
    </dgm:pt>
    <dgm:pt modelId="{843F7AB5-D3E7-4AE0-9C1E-01CC18C51A99}" type="sibTrans" cxnId="{D95F247E-3A76-4E25-BEEE-3E6552DD0142}">
      <dgm:prSet/>
      <dgm:spPr/>
      <dgm:t>
        <a:bodyPr/>
        <a:lstStyle/>
        <a:p>
          <a:endParaRPr lang="en-US"/>
        </a:p>
      </dgm:t>
    </dgm:pt>
    <dgm:pt modelId="{D0189AF6-71A6-44F8-91BC-425109888FF3}" type="parTrans" cxnId="{D95F247E-3A76-4E25-BEEE-3E6552DD0142}">
      <dgm:prSet/>
      <dgm:spPr/>
      <dgm:t>
        <a:bodyPr/>
        <a:lstStyle/>
        <a:p>
          <a:endParaRPr lang="en-US"/>
        </a:p>
      </dgm:t>
    </dgm:pt>
    <dgm:pt modelId="{6F5D0E37-BF95-4403-9910-AF3E317C4D0E}">
      <dgm:prSet/>
      <dgm:spPr/>
      <dgm:t>
        <a:bodyPr/>
        <a:lstStyle/>
        <a:p>
          <a:r>
            <a:rPr lang="en-US" dirty="0"/>
            <a:t>managing the other instances. This pattern can help to ensure that tasks do not conflict </a:t>
          </a:r>
          <a:r>
            <a:rPr lang="en-US" dirty="0" smtClean="0"/>
            <a:t>with each other, cause contention for shared resources, or inadvertently interfere with the work that other task instances are performing.</a:t>
          </a:r>
          <a:endParaRPr lang="en-US" dirty="0"/>
        </a:p>
      </dgm:t>
    </dgm:pt>
    <dgm:pt modelId="{915A0E7B-276E-4C3C-BF7E-A770CC57BA3F}" type="parTrans" cxnId="{43D3E4E0-FA59-4FDA-BA23-BBA925E40108}">
      <dgm:prSet/>
      <dgm:spPr/>
      <dgm:t>
        <a:bodyPr/>
        <a:lstStyle/>
        <a:p>
          <a:endParaRPr lang="en-US"/>
        </a:p>
      </dgm:t>
    </dgm:pt>
    <dgm:pt modelId="{9BF17689-A84A-47C4-B6BE-F398D2389E86}" type="sibTrans" cxnId="{43D3E4E0-FA59-4FDA-BA23-BBA925E40108}">
      <dgm:prSet/>
      <dgm:spPr/>
      <dgm:t>
        <a:bodyPr/>
        <a:lstStyle/>
        <a:p>
          <a:endParaRPr lang="en-US"/>
        </a:p>
      </dgm:t>
    </dgm:pt>
    <dgm:pt modelId="{22BA87F2-CEFA-4201-BF40-0D68F4F2C059}">
      <dgm:prSet/>
      <dgm:spPr/>
      <dgm:t>
        <a:bodyPr/>
        <a:lstStyle/>
        <a:p>
          <a:r>
            <a:rPr lang="en-US" dirty="0"/>
            <a:t>Generate prepopulated views over the data in one or more data stores when the data </a:t>
          </a:r>
          <a:r>
            <a:rPr lang="en-US" dirty="0" smtClean="0"/>
            <a:t>is formatted in a way that does not favor the required query operations. This pattern can help to support efficient querying and data extraction, and improve application performance.</a:t>
          </a:r>
          <a:endParaRPr lang="en-US" dirty="0"/>
        </a:p>
      </dgm:t>
    </dgm:pt>
    <dgm:pt modelId="{0A5DF98F-3A77-4BB5-A271-99E190D21A3C}" type="parTrans" cxnId="{A1641DB9-B82D-40B8-B9CD-E5FFB5756388}">
      <dgm:prSet/>
      <dgm:spPr/>
      <dgm:t>
        <a:bodyPr/>
        <a:lstStyle/>
        <a:p>
          <a:endParaRPr lang="en-US"/>
        </a:p>
      </dgm:t>
    </dgm:pt>
    <dgm:pt modelId="{7FFFD62D-5DFF-40BC-AC45-65BE45CE1168}" type="sibTrans" cxnId="{A1641DB9-B82D-40B8-B9CD-E5FFB5756388}">
      <dgm:prSet/>
      <dgm:spPr/>
      <dgm:t>
        <a:bodyPr/>
        <a:lstStyle/>
        <a:p>
          <a:endParaRPr lang="en-US"/>
        </a:p>
      </dgm:t>
    </dgm:pt>
    <dgm:pt modelId="{D30C1623-8325-4281-9E73-A792CAFA5A81}">
      <dgm:prSet/>
      <dgm:spPr/>
      <dgm:t>
        <a:bodyPr/>
        <a:lstStyle/>
        <a:p>
          <a:r>
            <a:rPr lang="en-US" dirty="0"/>
            <a:t>Decompose a task that performs complex processing into a series of discrete elements that </a:t>
          </a:r>
          <a:r>
            <a:rPr lang="en-US" dirty="0" smtClean="0"/>
            <a:t>can be reused. This pattern can improve performance, scalability, and reusability by allowing task elements that perform the processing to be deployed and scaled independently.</a:t>
          </a:r>
          <a:endParaRPr lang="en-US" dirty="0"/>
        </a:p>
      </dgm:t>
    </dgm:pt>
    <dgm:pt modelId="{438F4142-0785-4E88-8A9E-4F1783E5DAB7}" type="parTrans" cxnId="{FB36EB09-62E6-4472-A973-AE75BE0CD810}">
      <dgm:prSet/>
      <dgm:spPr/>
      <dgm:t>
        <a:bodyPr/>
        <a:lstStyle/>
        <a:p>
          <a:endParaRPr lang="en-US"/>
        </a:p>
      </dgm:t>
    </dgm:pt>
    <dgm:pt modelId="{68330BA2-1F1E-4ED9-B722-767C73048FE7}" type="sibTrans" cxnId="{FB36EB09-62E6-4472-A973-AE75BE0CD810}">
      <dgm:prSet/>
      <dgm:spPr/>
      <dgm:t>
        <a:bodyPr/>
        <a:lstStyle/>
        <a:p>
          <a:endParaRPr lang="en-US"/>
        </a:p>
      </dgm:t>
    </dgm:pt>
    <dgm:pt modelId="{3FB82E63-5812-47B4-B05A-6D464469B7EC}">
      <dgm:prSet/>
      <dgm:spPr/>
      <dgm:t>
        <a:bodyPr/>
        <a:lstStyle/>
        <a:p>
          <a:r>
            <a:rPr lang="en-US" dirty="0"/>
            <a:t>Prioritize requests sent to services so that requests with a higher priority are received </a:t>
          </a:r>
          <a:r>
            <a:rPr lang="en-US" dirty="0" smtClean="0"/>
            <a:t>and processed more quickly than those of a lower priority. This pattern is useful in applications that offer different service level guarantees to individual types of client</a:t>
          </a:r>
          <a:endParaRPr lang="en-US" dirty="0"/>
        </a:p>
      </dgm:t>
    </dgm:pt>
    <dgm:pt modelId="{780AFD12-C579-4BF2-ADE4-B7ADC8680C76}" type="parTrans" cxnId="{AF18D741-B80E-48A6-A36D-43BFF5A6D0F4}">
      <dgm:prSet/>
      <dgm:spPr/>
      <dgm:t>
        <a:bodyPr/>
        <a:lstStyle/>
        <a:p>
          <a:endParaRPr lang="en-US"/>
        </a:p>
      </dgm:t>
    </dgm:pt>
    <dgm:pt modelId="{10E69FC0-AAFB-4CCE-AED8-84B2BAB0A613}" type="sibTrans" cxnId="{AF18D741-B80E-48A6-A36D-43BFF5A6D0F4}">
      <dgm:prSet/>
      <dgm:spPr/>
      <dgm:t>
        <a:bodyPr/>
        <a:lstStyle/>
        <a:p>
          <a:endParaRPr lang="en-US"/>
        </a:p>
      </dgm:t>
    </dgm:pt>
    <dgm:pt modelId="{5263776A-DB3F-4361-A72E-C55E27948C44}" type="pres">
      <dgm:prSet presAssocID="{8EB9B1A1-0D31-4E2E-AB20-BBC60539E84C}" presName="linear" presStyleCnt="0">
        <dgm:presLayoutVars>
          <dgm:dir/>
          <dgm:animLvl val="lvl"/>
          <dgm:resizeHandles val="exact"/>
        </dgm:presLayoutVars>
      </dgm:prSet>
      <dgm:spPr/>
      <dgm:t>
        <a:bodyPr/>
        <a:lstStyle/>
        <a:p>
          <a:endParaRPr lang="en-US"/>
        </a:p>
      </dgm:t>
    </dgm:pt>
    <dgm:pt modelId="{EC020342-1E59-490F-8B9E-9990C56379DB}" type="pres">
      <dgm:prSet presAssocID="{921E94B1-24D6-4F32-8695-475DB47DBFE0}" presName="parentLin" presStyleCnt="0"/>
      <dgm:spPr/>
    </dgm:pt>
    <dgm:pt modelId="{7BF0F1BE-3626-44FE-97B5-C901549078BA}" type="pres">
      <dgm:prSet presAssocID="{921E94B1-24D6-4F32-8695-475DB47DBFE0}" presName="parentLeftMargin" presStyleLbl="node1" presStyleIdx="0" presStyleCnt="4"/>
      <dgm:spPr/>
      <dgm:t>
        <a:bodyPr/>
        <a:lstStyle/>
        <a:p>
          <a:endParaRPr lang="en-US"/>
        </a:p>
      </dgm:t>
    </dgm:pt>
    <dgm:pt modelId="{9BA8F0CF-6646-4FE6-844A-33B5FBF25D2D}" type="pres">
      <dgm:prSet presAssocID="{921E94B1-24D6-4F32-8695-475DB47DBFE0}" presName="parentText" presStyleLbl="node1" presStyleIdx="0" presStyleCnt="4">
        <dgm:presLayoutVars>
          <dgm:chMax val="0"/>
          <dgm:bulletEnabled val="1"/>
        </dgm:presLayoutVars>
      </dgm:prSet>
      <dgm:spPr/>
      <dgm:t>
        <a:bodyPr/>
        <a:lstStyle/>
        <a:p>
          <a:endParaRPr lang="en-US"/>
        </a:p>
      </dgm:t>
    </dgm:pt>
    <dgm:pt modelId="{ED252EED-006B-45A1-82F5-C65A4CFDD6BC}" type="pres">
      <dgm:prSet presAssocID="{921E94B1-24D6-4F32-8695-475DB47DBFE0}" presName="negativeSpace" presStyleCnt="0"/>
      <dgm:spPr/>
    </dgm:pt>
    <dgm:pt modelId="{A319F0DF-579B-49B9-84B7-CB83306E7E83}" type="pres">
      <dgm:prSet presAssocID="{921E94B1-24D6-4F32-8695-475DB47DBFE0}" presName="childText" presStyleLbl="conFgAcc1" presStyleIdx="0" presStyleCnt="4">
        <dgm:presLayoutVars>
          <dgm:bulletEnabled val="1"/>
        </dgm:presLayoutVars>
      </dgm:prSet>
      <dgm:spPr/>
      <dgm:t>
        <a:bodyPr/>
        <a:lstStyle/>
        <a:p>
          <a:endParaRPr lang="en-US"/>
        </a:p>
      </dgm:t>
    </dgm:pt>
    <dgm:pt modelId="{B9FCD3AB-DCD2-4999-84A7-5A54241342FC}" type="pres">
      <dgm:prSet presAssocID="{74A961DE-E8E4-44A7-BBE9-D6C77CCE100A}" presName="spaceBetweenRectangles" presStyleCnt="0"/>
      <dgm:spPr/>
    </dgm:pt>
    <dgm:pt modelId="{6D4C3B6A-0345-4F2F-9E59-B6AB1E7FD761}" type="pres">
      <dgm:prSet presAssocID="{59DFD1AC-B55B-435C-81C6-CB158673C313}" presName="parentLin" presStyleCnt="0"/>
      <dgm:spPr/>
    </dgm:pt>
    <dgm:pt modelId="{E11F0579-5F08-444C-B43C-143763283F26}" type="pres">
      <dgm:prSet presAssocID="{59DFD1AC-B55B-435C-81C6-CB158673C313}" presName="parentLeftMargin" presStyleLbl="node1" presStyleIdx="0" presStyleCnt="4"/>
      <dgm:spPr/>
      <dgm:t>
        <a:bodyPr/>
        <a:lstStyle/>
        <a:p>
          <a:endParaRPr lang="en-US"/>
        </a:p>
      </dgm:t>
    </dgm:pt>
    <dgm:pt modelId="{0967F748-8A99-4408-8474-09CBAAC13B03}" type="pres">
      <dgm:prSet presAssocID="{59DFD1AC-B55B-435C-81C6-CB158673C313}" presName="parentText" presStyleLbl="node1" presStyleIdx="1" presStyleCnt="4">
        <dgm:presLayoutVars>
          <dgm:chMax val="0"/>
          <dgm:bulletEnabled val="1"/>
        </dgm:presLayoutVars>
      </dgm:prSet>
      <dgm:spPr/>
      <dgm:t>
        <a:bodyPr/>
        <a:lstStyle/>
        <a:p>
          <a:endParaRPr lang="en-US"/>
        </a:p>
      </dgm:t>
    </dgm:pt>
    <dgm:pt modelId="{419E1C6A-10E1-4D48-8788-ED85BD0E9A56}" type="pres">
      <dgm:prSet presAssocID="{59DFD1AC-B55B-435C-81C6-CB158673C313}" presName="negativeSpace" presStyleCnt="0"/>
      <dgm:spPr/>
    </dgm:pt>
    <dgm:pt modelId="{67F3DD5A-2165-4216-A029-0FAC59E15A7B}" type="pres">
      <dgm:prSet presAssocID="{59DFD1AC-B55B-435C-81C6-CB158673C313}" presName="childText" presStyleLbl="conFgAcc1" presStyleIdx="1" presStyleCnt="4">
        <dgm:presLayoutVars>
          <dgm:bulletEnabled val="1"/>
        </dgm:presLayoutVars>
      </dgm:prSet>
      <dgm:spPr/>
      <dgm:t>
        <a:bodyPr/>
        <a:lstStyle/>
        <a:p>
          <a:endParaRPr lang="en-US"/>
        </a:p>
      </dgm:t>
    </dgm:pt>
    <dgm:pt modelId="{583EF995-D805-4835-B7F3-F6D40F99D1A9}" type="pres">
      <dgm:prSet presAssocID="{8A84534C-771B-413D-BEE2-6BD156CC5344}" presName="spaceBetweenRectangles" presStyleCnt="0"/>
      <dgm:spPr/>
    </dgm:pt>
    <dgm:pt modelId="{AB3DF734-1EA1-4CC4-B07E-6F728356A59E}" type="pres">
      <dgm:prSet presAssocID="{E81A095E-30CF-402C-8331-BC693AF4205D}" presName="parentLin" presStyleCnt="0"/>
      <dgm:spPr/>
    </dgm:pt>
    <dgm:pt modelId="{8F758473-D88A-49E5-8A98-BA3D875B2895}" type="pres">
      <dgm:prSet presAssocID="{E81A095E-30CF-402C-8331-BC693AF4205D}" presName="parentLeftMargin" presStyleLbl="node1" presStyleIdx="1" presStyleCnt="4"/>
      <dgm:spPr/>
      <dgm:t>
        <a:bodyPr/>
        <a:lstStyle/>
        <a:p>
          <a:endParaRPr lang="en-US"/>
        </a:p>
      </dgm:t>
    </dgm:pt>
    <dgm:pt modelId="{D62BADAB-AC96-4E39-8010-FEDA510B07C1}" type="pres">
      <dgm:prSet presAssocID="{E81A095E-30CF-402C-8331-BC693AF4205D}" presName="parentText" presStyleLbl="node1" presStyleIdx="2" presStyleCnt="4">
        <dgm:presLayoutVars>
          <dgm:chMax val="0"/>
          <dgm:bulletEnabled val="1"/>
        </dgm:presLayoutVars>
      </dgm:prSet>
      <dgm:spPr/>
      <dgm:t>
        <a:bodyPr/>
        <a:lstStyle/>
        <a:p>
          <a:endParaRPr lang="en-US"/>
        </a:p>
      </dgm:t>
    </dgm:pt>
    <dgm:pt modelId="{C2B7DCA4-797C-4DAD-8AA4-E4C33B7BB54C}" type="pres">
      <dgm:prSet presAssocID="{E81A095E-30CF-402C-8331-BC693AF4205D}" presName="negativeSpace" presStyleCnt="0"/>
      <dgm:spPr/>
    </dgm:pt>
    <dgm:pt modelId="{7800C582-D28D-4F46-AD38-67E997E9297C}" type="pres">
      <dgm:prSet presAssocID="{E81A095E-30CF-402C-8331-BC693AF4205D}" presName="childText" presStyleLbl="conFgAcc1" presStyleIdx="2" presStyleCnt="4">
        <dgm:presLayoutVars>
          <dgm:bulletEnabled val="1"/>
        </dgm:presLayoutVars>
      </dgm:prSet>
      <dgm:spPr/>
      <dgm:t>
        <a:bodyPr/>
        <a:lstStyle/>
        <a:p>
          <a:endParaRPr lang="en-US"/>
        </a:p>
      </dgm:t>
    </dgm:pt>
    <dgm:pt modelId="{0E5498DE-BD1F-4CB8-8A69-2A39199013A0}" type="pres">
      <dgm:prSet presAssocID="{6CCB7512-7B2D-4407-A223-5D1FD0E01C1B}" presName="spaceBetweenRectangles" presStyleCnt="0"/>
      <dgm:spPr/>
    </dgm:pt>
    <dgm:pt modelId="{D741CB53-B95B-4A80-ACBC-0E858EAB05E9}" type="pres">
      <dgm:prSet presAssocID="{DAD1C729-3835-4292-B8AF-C734A9589CDA}" presName="parentLin" presStyleCnt="0"/>
      <dgm:spPr/>
    </dgm:pt>
    <dgm:pt modelId="{38086994-3511-4160-84AB-64D56B71B1F3}" type="pres">
      <dgm:prSet presAssocID="{DAD1C729-3835-4292-B8AF-C734A9589CDA}" presName="parentLeftMargin" presStyleLbl="node1" presStyleIdx="2" presStyleCnt="4"/>
      <dgm:spPr/>
      <dgm:t>
        <a:bodyPr/>
        <a:lstStyle/>
        <a:p>
          <a:endParaRPr lang="en-US"/>
        </a:p>
      </dgm:t>
    </dgm:pt>
    <dgm:pt modelId="{45FD41E3-C30D-4DF7-A776-E2B376CC76CE}" type="pres">
      <dgm:prSet presAssocID="{DAD1C729-3835-4292-B8AF-C734A9589CDA}" presName="parentText" presStyleLbl="node1" presStyleIdx="3" presStyleCnt="4">
        <dgm:presLayoutVars>
          <dgm:chMax val="0"/>
          <dgm:bulletEnabled val="1"/>
        </dgm:presLayoutVars>
      </dgm:prSet>
      <dgm:spPr/>
      <dgm:t>
        <a:bodyPr/>
        <a:lstStyle/>
        <a:p>
          <a:endParaRPr lang="en-US"/>
        </a:p>
      </dgm:t>
    </dgm:pt>
    <dgm:pt modelId="{95CE80F7-AC4F-4B67-AE64-034EC0E8DAE4}" type="pres">
      <dgm:prSet presAssocID="{DAD1C729-3835-4292-B8AF-C734A9589CDA}" presName="negativeSpace" presStyleCnt="0"/>
      <dgm:spPr/>
    </dgm:pt>
    <dgm:pt modelId="{AF3852BD-9388-481F-97F5-2037FAF4C0C8}" type="pres">
      <dgm:prSet presAssocID="{DAD1C729-3835-4292-B8AF-C734A9589CDA}" presName="childText" presStyleLbl="conFgAcc1" presStyleIdx="3" presStyleCnt="4">
        <dgm:presLayoutVars>
          <dgm:bulletEnabled val="1"/>
        </dgm:presLayoutVars>
      </dgm:prSet>
      <dgm:spPr/>
      <dgm:t>
        <a:bodyPr/>
        <a:lstStyle/>
        <a:p>
          <a:endParaRPr lang="en-US"/>
        </a:p>
      </dgm:t>
    </dgm:pt>
  </dgm:ptLst>
  <dgm:cxnLst>
    <dgm:cxn modelId="{5C5011FF-913A-40DF-B0D2-6FCDC8F5521D}" type="presOf" srcId="{22BA87F2-CEFA-4201-BF40-0D68F4F2C059}" destId="{67F3DD5A-2165-4216-A029-0FAC59E15A7B}" srcOrd="0" destOrd="1" presId="urn:microsoft.com/office/officeart/2005/8/layout/list1"/>
    <dgm:cxn modelId="{7253D25B-C31A-442C-82FC-99638362A2F6}" type="presOf" srcId="{921E94B1-24D6-4F32-8695-475DB47DBFE0}" destId="{7BF0F1BE-3626-44FE-97B5-C901549078BA}" srcOrd="0" destOrd="0" presId="urn:microsoft.com/office/officeart/2005/8/layout/list1"/>
    <dgm:cxn modelId="{84B8C76E-FBF6-4396-91A4-EA21BE69907D}" type="presOf" srcId="{C91998ED-BB0C-4781-9440-9EE0778DE2D4}" destId="{A319F0DF-579B-49B9-84B7-CB83306E7E83}" srcOrd="0" destOrd="0" presId="urn:microsoft.com/office/officeart/2005/8/layout/list1"/>
    <dgm:cxn modelId="{6F766BB1-42CF-4749-A2D6-9FEA3ABDAB9B}" srcId="{E81A095E-30CF-402C-8331-BC693AF4205D}" destId="{D9162FA9-B278-470E-BB1E-DB5D4077F40F}" srcOrd="0" destOrd="0" parTransId="{0D8D35AF-789E-4525-96B6-51DB55142098}" sibTransId="{77ED8538-D0C1-4A58-9CBD-E34BAE302DF3}"/>
    <dgm:cxn modelId="{D95F247E-3A76-4E25-BEEE-3E6552DD0142}" srcId="{921E94B1-24D6-4F32-8695-475DB47DBFE0}" destId="{C91998ED-BB0C-4781-9440-9EE0778DE2D4}" srcOrd="0" destOrd="0" parTransId="{D0189AF6-71A6-44F8-91BC-425109888FF3}" sibTransId="{843F7AB5-D3E7-4AE0-9C1E-01CC18C51A99}"/>
    <dgm:cxn modelId="{B8B864D7-657D-4BE5-B493-E2476FA11FD2}" type="presOf" srcId="{6F5D0E37-BF95-4403-9910-AF3E317C4D0E}" destId="{A319F0DF-579B-49B9-84B7-CB83306E7E83}" srcOrd="0" destOrd="1" presId="urn:microsoft.com/office/officeart/2005/8/layout/list1"/>
    <dgm:cxn modelId="{CB352099-6838-4A42-A964-DE034CA78605}" type="presOf" srcId="{E81A095E-30CF-402C-8331-BC693AF4205D}" destId="{8F758473-D88A-49E5-8A98-BA3D875B2895}" srcOrd="0" destOrd="0" presId="urn:microsoft.com/office/officeart/2005/8/layout/list1"/>
    <dgm:cxn modelId="{B961AF1E-216C-4BB6-9EE5-7371E4FC1C1D}" srcId="{8EB9B1A1-0D31-4E2E-AB20-BBC60539E84C}" destId="{E81A095E-30CF-402C-8331-BC693AF4205D}" srcOrd="2" destOrd="0" parTransId="{4786696F-2B9B-416B-8E04-D6D8BAA94438}" sibTransId="{6CCB7512-7B2D-4407-A223-5D1FD0E01C1B}"/>
    <dgm:cxn modelId="{2412F359-2AD8-47DB-B486-7348FE6951A1}" type="presOf" srcId="{3FB82E63-5812-47B4-B05A-6D464469B7EC}" destId="{AF3852BD-9388-481F-97F5-2037FAF4C0C8}" srcOrd="0" destOrd="1" presId="urn:microsoft.com/office/officeart/2005/8/layout/list1"/>
    <dgm:cxn modelId="{43D3E4E0-FA59-4FDA-BA23-BBA925E40108}" srcId="{921E94B1-24D6-4F32-8695-475DB47DBFE0}" destId="{6F5D0E37-BF95-4403-9910-AF3E317C4D0E}" srcOrd="1" destOrd="0" parTransId="{915A0E7B-276E-4C3C-BF7E-A770CC57BA3F}" sibTransId="{9BF17689-A84A-47C4-B6BE-F398D2389E86}"/>
    <dgm:cxn modelId="{EA0825A4-2AF3-4877-B886-856BB01E24AE}" type="presOf" srcId="{D9162FA9-B278-470E-BB1E-DB5D4077F40F}" destId="{7800C582-D28D-4F46-AD38-67E997E9297C}" srcOrd="0" destOrd="0" presId="urn:microsoft.com/office/officeart/2005/8/layout/list1"/>
    <dgm:cxn modelId="{15D593B2-17FB-45AA-BA2E-41BCAF993D26}" type="presOf" srcId="{921E94B1-24D6-4F32-8695-475DB47DBFE0}" destId="{9BA8F0CF-6646-4FE6-844A-33B5FBF25D2D}" srcOrd="1" destOrd="0" presId="urn:microsoft.com/office/officeart/2005/8/layout/list1"/>
    <dgm:cxn modelId="{824741AA-8C0E-438C-B7B6-A3D2F3106144}" srcId="{DAD1C729-3835-4292-B8AF-C734A9589CDA}" destId="{2FE5DF42-1ED1-4710-89C2-427C64A13144}" srcOrd="0" destOrd="0" parTransId="{912DB2FD-972A-4916-9703-E1289578FEAA}" sibTransId="{1A85EBA5-F5A2-4D84-8E05-2B1BECB661FC}"/>
    <dgm:cxn modelId="{32D4F88E-542D-4025-9527-BEEFECBE4240}" type="presOf" srcId="{2FE5DF42-1ED1-4710-89C2-427C64A13144}" destId="{AF3852BD-9388-481F-97F5-2037FAF4C0C8}" srcOrd="0" destOrd="0" presId="urn:microsoft.com/office/officeart/2005/8/layout/list1"/>
    <dgm:cxn modelId="{FF31B088-5D91-4E7A-A411-31FC85AD23C6}" srcId="{8EB9B1A1-0D31-4E2E-AB20-BBC60539E84C}" destId="{59DFD1AC-B55B-435C-81C6-CB158673C313}" srcOrd="1" destOrd="0" parTransId="{089FCC58-B398-4F53-A5F8-B65933724CB0}" sibTransId="{8A84534C-771B-413D-BEE2-6BD156CC5344}"/>
    <dgm:cxn modelId="{7121484B-D847-4A48-9676-EC1FFFA3E014}" type="presOf" srcId="{72CBC948-13AD-4A9B-B0BB-214E626CE7CA}" destId="{67F3DD5A-2165-4216-A029-0FAC59E15A7B}" srcOrd="0" destOrd="0" presId="urn:microsoft.com/office/officeart/2005/8/layout/list1"/>
    <dgm:cxn modelId="{5BBB6468-ACCA-4C19-8EB0-606C95A4B998}" type="presOf" srcId="{DAD1C729-3835-4292-B8AF-C734A9589CDA}" destId="{38086994-3511-4160-84AB-64D56B71B1F3}" srcOrd="0" destOrd="0" presId="urn:microsoft.com/office/officeart/2005/8/layout/list1"/>
    <dgm:cxn modelId="{7FA5C1B3-9EA1-410B-8A52-43AAE3A8332C}" type="presOf" srcId="{E81A095E-30CF-402C-8331-BC693AF4205D}" destId="{D62BADAB-AC96-4E39-8010-FEDA510B07C1}" srcOrd="1" destOrd="0" presId="urn:microsoft.com/office/officeart/2005/8/layout/list1"/>
    <dgm:cxn modelId="{A1641DB9-B82D-40B8-B9CD-E5FFB5756388}" srcId="{59DFD1AC-B55B-435C-81C6-CB158673C313}" destId="{22BA87F2-CEFA-4201-BF40-0D68F4F2C059}" srcOrd="1" destOrd="0" parTransId="{0A5DF98F-3A77-4BB5-A271-99E190D21A3C}" sibTransId="{7FFFD62D-5DFF-40BC-AC45-65BE45CE1168}"/>
    <dgm:cxn modelId="{ADCFDC32-B3EC-470C-9FBE-CAF675ACD06E}" srcId="{8EB9B1A1-0D31-4E2E-AB20-BBC60539E84C}" destId="{921E94B1-24D6-4F32-8695-475DB47DBFE0}" srcOrd="0" destOrd="0" parTransId="{98AB07B5-7A9C-4515-BCEC-30687D8E0D34}" sibTransId="{74A961DE-E8E4-44A7-BBE9-D6C77CCE100A}"/>
    <dgm:cxn modelId="{CCB9DF24-E7C1-46BF-974D-D8026A56C25B}" type="presOf" srcId="{8EB9B1A1-0D31-4E2E-AB20-BBC60539E84C}" destId="{5263776A-DB3F-4361-A72E-C55E27948C44}" srcOrd="0" destOrd="0" presId="urn:microsoft.com/office/officeart/2005/8/layout/list1"/>
    <dgm:cxn modelId="{89D2D5FD-BC97-4346-87D9-3F2C562D5778}" type="presOf" srcId="{D30C1623-8325-4281-9E73-A792CAFA5A81}" destId="{7800C582-D28D-4F46-AD38-67E997E9297C}" srcOrd="0" destOrd="1" presId="urn:microsoft.com/office/officeart/2005/8/layout/list1"/>
    <dgm:cxn modelId="{AF18D741-B80E-48A6-A36D-43BFF5A6D0F4}" srcId="{DAD1C729-3835-4292-B8AF-C734A9589CDA}" destId="{3FB82E63-5812-47B4-B05A-6D464469B7EC}" srcOrd="1" destOrd="0" parTransId="{780AFD12-C579-4BF2-ADE4-B7ADC8680C76}" sibTransId="{10E69FC0-AAFB-4CCE-AED8-84B2BAB0A613}"/>
    <dgm:cxn modelId="{0B2752E5-F341-4A18-8A59-C15C3D1729CB}" srcId="{8EB9B1A1-0D31-4E2E-AB20-BBC60539E84C}" destId="{DAD1C729-3835-4292-B8AF-C734A9589CDA}" srcOrd="3" destOrd="0" parTransId="{EF3CED3E-04D3-46C9-85D4-132182F90696}" sibTransId="{69A9897C-4D55-452C-944B-789BFE17C8B5}"/>
    <dgm:cxn modelId="{E6A94204-41D3-4161-BC2E-1D5AD51C2DDE}" type="presOf" srcId="{59DFD1AC-B55B-435C-81C6-CB158673C313}" destId="{0967F748-8A99-4408-8474-09CBAAC13B03}" srcOrd="1" destOrd="0" presId="urn:microsoft.com/office/officeart/2005/8/layout/list1"/>
    <dgm:cxn modelId="{FB36EB09-62E6-4472-A973-AE75BE0CD810}" srcId="{E81A095E-30CF-402C-8331-BC693AF4205D}" destId="{D30C1623-8325-4281-9E73-A792CAFA5A81}" srcOrd="1" destOrd="0" parTransId="{438F4142-0785-4E88-8A9E-4F1783E5DAB7}" sibTransId="{68330BA2-1F1E-4ED9-B722-767C73048FE7}"/>
    <dgm:cxn modelId="{D8BCEECA-AC1E-424C-BCA9-965198787EF6}" srcId="{59DFD1AC-B55B-435C-81C6-CB158673C313}" destId="{72CBC948-13AD-4A9B-B0BB-214E626CE7CA}" srcOrd="0" destOrd="0" parTransId="{C711E341-BD34-4496-B915-1F637885CB5E}" sibTransId="{1BBEDC4C-A41C-4524-BE02-70660E1BE469}"/>
    <dgm:cxn modelId="{D3DA4E51-472D-4284-BF93-D858B4B10D6A}" type="presOf" srcId="{59DFD1AC-B55B-435C-81C6-CB158673C313}" destId="{E11F0579-5F08-444C-B43C-143763283F26}" srcOrd="0" destOrd="0" presId="urn:microsoft.com/office/officeart/2005/8/layout/list1"/>
    <dgm:cxn modelId="{CF863A77-556E-478B-AEEF-1D27A3E269D7}" type="presOf" srcId="{DAD1C729-3835-4292-B8AF-C734A9589CDA}" destId="{45FD41E3-C30D-4DF7-A776-E2B376CC76CE}" srcOrd="1" destOrd="0" presId="urn:microsoft.com/office/officeart/2005/8/layout/list1"/>
    <dgm:cxn modelId="{F41285F4-1785-4F4E-8796-12DFAD641A51}" type="presParOf" srcId="{5263776A-DB3F-4361-A72E-C55E27948C44}" destId="{EC020342-1E59-490F-8B9E-9990C56379DB}" srcOrd="0" destOrd="0" presId="urn:microsoft.com/office/officeart/2005/8/layout/list1"/>
    <dgm:cxn modelId="{505D522E-DEF5-42A6-A4C0-85DCDCA97712}" type="presParOf" srcId="{EC020342-1E59-490F-8B9E-9990C56379DB}" destId="{7BF0F1BE-3626-44FE-97B5-C901549078BA}" srcOrd="0" destOrd="0" presId="urn:microsoft.com/office/officeart/2005/8/layout/list1"/>
    <dgm:cxn modelId="{1938D77F-F4FD-4CAB-8FE4-1DDCC76563FA}" type="presParOf" srcId="{EC020342-1E59-490F-8B9E-9990C56379DB}" destId="{9BA8F0CF-6646-4FE6-844A-33B5FBF25D2D}" srcOrd="1" destOrd="0" presId="urn:microsoft.com/office/officeart/2005/8/layout/list1"/>
    <dgm:cxn modelId="{A9C81F29-E0AB-4FF6-888A-D71E715DB14B}" type="presParOf" srcId="{5263776A-DB3F-4361-A72E-C55E27948C44}" destId="{ED252EED-006B-45A1-82F5-C65A4CFDD6BC}" srcOrd="1" destOrd="0" presId="urn:microsoft.com/office/officeart/2005/8/layout/list1"/>
    <dgm:cxn modelId="{134B17C1-FE03-4344-8F6C-C57B70C8D9DF}" type="presParOf" srcId="{5263776A-DB3F-4361-A72E-C55E27948C44}" destId="{A319F0DF-579B-49B9-84B7-CB83306E7E83}" srcOrd="2" destOrd="0" presId="urn:microsoft.com/office/officeart/2005/8/layout/list1"/>
    <dgm:cxn modelId="{A42EBF18-DD4E-4338-8BCB-655C1D6F9F34}" type="presParOf" srcId="{5263776A-DB3F-4361-A72E-C55E27948C44}" destId="{B9FCD3AB-DCD2-4999-84A7-5A54241342FC}" srcOrd="3" destOrd="0" presId="urn:microsoft.com/office/officeart/2005/8/layout/list1"/>
    <dgm:cxn modelId="{5F193AB8-BADD-48DC-9BB0-3413716F83BC}" type="presParOf" srcId="{5263776A-DB3F-4361-A72E-C55E27948C44}" destId="{6D4C3B6A-0345-4F2F-9E59-B6AB1E7FD761}" srcOrd="4" destOrd="0" presId="urn:microsoft.com/office/officeart/2005/8/layout/list1"/>
    <dgm:cxn modelId="{0FA46DC3-235F-493B-A1B2-924B0576F89C}" type="presParOf" srcId="{6D4C3B6A-0345-4F2F-9E59-B6AB1E7FD761}" destId="{E11F0579-5F08-444C-B43C-143763283F26}" srcOrd="0" destOrd="0" presId="urn:microsoft.com/office/officeart/2005/8/layout/list1"/>
    <dgm:cxn modelId="{F63A897A-3B13-4C55-87BD-0727B6277CCA}" type="presParOf" srcId="{6D4C3B6A-0345-4F2F-9E59-B6AB1E7FD761}" destId="{0967F748-8A99-4408-8474-09CBAAC13B03}" srcOrd="1" destOrd="0" presId="urn:microsoft.com/office/officeart/2005/8/layout/list1"/>
    <dgm:cxn modelId="{BA16119A-3357-4D11-8E95-219189358549}" type="presParOf" srcId="{5263776A-DB3F-4361-A72E-C55E27948C44}" destId="{419E1C6A-10E1-4D48-8788-ED85BD0E9A56}" srcOrd="5" destOrd="0" presId="urn:microsoft.com/office/officeart/2005/8/layout/list1"/>
    <dgm:cxn modelId="{C7DD747D-CE0E-421A-84C4-6A8046CAB9BD}" type="presParOf" srcId="{5263776A-DB3F-4361-A72E-C55E27948C44}" destId="{67F3DD5A-2165-4216-A029-0FAC59E15A7B}" srcOrd="6" destOrd="0" presId="urn:microsoft.com/office/officeart/2005/8/layout/list1"/>
    <dgm:cxn modelId="{B2D8B474-6E7A-4FA8-BBD5-F8E586935F7E}" type="presParOf" srcId="{5263776A-DB3F-4361-A72E-C55E27948C44}" destId="{583EF995-D805-4835-B7F3-F6D40F99D1A9}" srcOrd="7" destOrd="0" presId="urn:microsoft.com/office/officeart/2005/8/layout/list1"/>
    <dgm:cxn modelId="{8F771EE2-CD22-4870-B954-6A0289BAFDA6}" type="presParOf" srcId="{5263776A-DB3F-4361-A72E-C55E27948C44}" destId="{AB3DF734-1EA1-4CC4-B07E-6F728356A59E}" srcOrd="8" destOrd="0" presId="urn:microsoft.com/office/officeart/2005/8/layout/list1"/>
    <dgm:cxn modelId="{234AF06E-596E-4B1D-A6CC-2EC14E50CC2C}" type="presParOf" srcId="{AB3DF734-1EA1-4CC4-B07E-6F728356A59E}" destId="{8F758473-D88A-49E5-8A98-BA3D875B2895}" srcOrd="0" destOrd="0" presId="urn:microsoft.com/office/officeart/2005/8/layout/list1"/>
    <dgm:cxn modelId="{9C832555-50A1-420B-9CD8-21FC3B13CBAA}" type="presParOf" srcId="{AB3DF734-1EA1-4CC4-B07E-6F728356A59E}" destId="{D62BADAB-AC96-4E39-8010-FEDA510B07C1}" srcOrd="1" destOrd="0" presId="urn:microsoft.com/office/officeart/2005/8/layout/list1"/>
    <dgm:cxn modelId="{A6D5F144-FABC-4FB8-85F5-AB7D40193C93}" type="presParOf" srcId="{5263776A-DB3F-4361-A72E-C55E27948C44}" destId="{C2B7DCA4-797C-4DAD-8AA4-E4C33B7BB54C}" srcOrd="9" destOrd="0" presId="urn:microsoft.com/office/officeart/2005/8/layout/list1"/>
    <dgm:cxn modelId="{3012A3B8-2545-4C03-AE8D-2BFFA891943F}" type="presParOf" srcId="{5263776A-DB3F-4361-A72E-C55E27948C44}" destId="{7800C582-D28D-4F46-AD38-67E997E9297C}" srcOrd="10" destOrd="0" presId="urn:microsoft.com/office/officeart/2005/8/layout/list1"/>
    <dgm:cxn modelId="{49A07A5B-1420-46B2-BAD2-A182C423DC84}" type="presParOf" srcId="{5263776A-DB3F-4361-A72E-C55E27948C44}" destId="{0E5498DE-BD1F-4CB8-8A69-2A39199013A0}" srcOrd="11" destOrd="0" presId="urn:microsoft.com/office/officeart/2005/8/layout/list1"/>
    <dgm:cxn modelId="{969DD3D8-9F82-4941-BFAB-03F4D155D2B2}" type="presParOf" srcId="{5263776A-DB3F-4361-A72E-C55E27948C44}" destId="{D741CB53-B95B-4A80-ACBC-0E858EAB05E9}" srcOrd="12" destOrd="0" presId="urn:microsoft.com/office/officeart/2005/8/layout/list1"/>
    <dgm:cxn modelId="{62B60F83-2804-4F3B-B96A-CA99485D2F2D}" type="presParOf" srcId="{D741CB53-B95B-4A80-ACBC-0E858EAB05E9}" destId="{38086994-3511-4160-84AB-64D56B71B1F3}" srcOrd="0" destOrd="0" presId="urn:microsoft.com/office/officeart/2005/8/layout/list1"/>
    <dgm:cxn modelId="{3F946F95-CC1B-4538-A33E-E16B45FF878A}" type="presParOf" srcId="{D741CB53-B95B-4A80-ACBC-0E858EAB05E9}" destId="{45FD41E3-C30D-4DF7-A776-E2B376CC76CE}" srcOrd="1" destOrd="0" presId="urn:microsoft.com/office/officeart/2005/8/layout/list1"/>
    <dgm:cxn modelId="{E72316F9-AFE1-48EE-A35F-68F0E86D8302}" type="presParOf" srcId="{5263776A-DB3F-4361-A72E-C55E27948C44}" destId="{95CE80F7-AC4F-4B67-AE64-034EC0E8DAE4}" srcOrd="13" destOrd="0" presId="urn:microsoft.com/office/officeart/2005/8/layout/list1"/>
    <dgm:cxn modelId="{244FD9D9-D4A0-4F62-A818-7466D50FDCC7}" type="presParOf" srcId="{5263776A-DB3F-4361-A72E-C55E27948C44}" destId="{AF3852BD-9388-481F-97F5-2037FAF4C0C8}" srcOrd="14"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8EB9B1A1-0D31-4E2E-AB20-BBC60539E84C}" type="doc">
      <dgm:prSet loTypeId="urn:microsoft.com/office/officeart/2005/8/layout/list1" loCatId="list" qsTypeId="urn:microsoft.com/office/officeart/2005/8/quickstyle/simple1" qsCatId="simple" csTypeId="urn:microsoft.com/office/officeart/2005/8/colors/colorful5" csCatId="colorful" phldr="1"/>
      <dgm:spPr/>
      <dgm:t>
        <a:bodyPr/>
        <a:lstStyle/>
        <a:p>
          <a:endParaRPr lang="en-US"/>
        </a:p>
      </dgm:t>
    </dgm:pt>
    <dgm:pt modelId="{921E94B1-24D6-4F32-8695-475DB47DBFE0}">
      <dgm:prSet/>
      <dgm:spPr/>
      <dgm:t>
        <a:bodyPr/>
        <a:lstStyle/>
        <a:p>
          <a:pPr rtl="0"/>
          <a:r>
            <a:rPr lang="en-US" dirty="0" smtClean="0"/>
            <a:t> Queue-based Load Leveling</a:t>
          </a:r>
          <a:endParaRPr lang="en-US" dirty="0"/>
        </a:p>
      </dgm:t>
    </dgm:pt>
    <dgm:pt modelId="{98AB07B5-7A9C-4515-BCEC-30687D8E0D34}" type="parTrans" cxnId="{ADCFDC32-B3EC-470C-9FBE-CAF675ACD06E}">
      <dgm:prSet/>
      <dgm:spPr/>
      <dgm:t>
        <a:bodyPr/>
        <a:lstStyle/>
        <a:p>
          <a:endParaRPr lang="en-US"/>
        </a:p>
      </dgm:t>
    </dgm:pt>
    <dgm:pt modelId="{74A961DE-E8E4-44A7-BBE9-D6C77CCE100A}" type="sibTrans" cxnId="{ADCFDC32-B3EC-470C-9FBE-CAF675ACD06E}">
      <dgm:prSet/>
      <dgm:spPr/>
      <dgm:t>
        <a:bodyPr/>
        <a:lstStyle/>
        <a:p>
          <a:endParaRPr lang="en-US"/>
        </a:p>
      </dgm:t>
    </dgm:pt>
    <dgm:pt modelId="{59DFD1AC-B55B-435C-81C6-CB158673C313}">
      <dgm:prSet/>
      <dgm:spPr/>
      <dgm:t>
        <a:bodyPr/>
        <a:lstStyle/>
        <a:p>
          <a:r>
            <a:rPr lang="en-US" dirty="0" smtClean="0"/>
            <a:t> Retry</a:t>
          </a:r>
          <a:endParaRPr lang="en-US" dirty="0"/>
        </a:p>
      </dgm:t>
    </dgm:pt>
    <dgm:pt modelId="{089FCC58-B398-4F53-A5F8-B65933724CB0}" type="parTrans" cxnId="{FF31B088-5D91-4E7A-A411-31FC85AD23C6}">
      <dgm:prSet/>
      <dgm:spPr/>
      <dgm:t>
        <a:bodyPr/>
        <a:lstStyle/>
        <a:p>
          <a:endParaRPr lang="en-US"/>
        </a:p>
      </dgm:t>
    </dgm:pt>
    <dgm:pt modelId="{8A84534C-771B-413D-BEE2-6BD156CC5344}" type="sibTrans" cxnId="{FF31B088-5D91-4E7A-A411-31FC85AD23C6}">
      <dgm:prSet/>
      <dgm:spPr/>
      <dgm:t>
        <a:bodyPr/>
        <a:lstStyle/>
        <a:p>
          <a:endParaRPr lang="en-US"/>
        </a:p>
      </dgm:t>
    </dgm:pt>
    <dgm:pt modelId="{E81A095E-30CF-402C-8331-BC693AF4205D}">
      <dgm:prSet/>
      <dgm:spPr/>
      <dgm:t>
        <a:bodyPr/>
        <a:lstStyle/>
        <a:p>
          <a:r>
            <a:rPr lang="en-US" dirty="0" smtClean="0"/>
            <a:t> Runtime Reconfiguration</a:t>
          </a:r>
          <a:endParaRPr lang="en-US" dirty="0"/>
        </a:p>
      </dgm:t>
    </dgm:pt>
    <dgm:pt modelId="{4786696F-2B9B-416B-8E04-D6D8BAA94438}" type="parTrans" cxnId="{B961AF1E-216C-4BB6-9EE5-7371E4FC1C1D}">
      <dgm:prSet/>
      <dgm:spPr/>
      <dgm:t>
        <a:bodyPr/>
        <a:lstStyle/>
        <a:p>
          <a:endParaRPr lang="en-US"/>
        </a:p>
      </dgm:t>
    </dgm:pt>
    <dgm:pt modelId="{6CCB7512-7B2D-4407-A223-5D1FD0E01C1B}" type="sibTrans" cxnId="{B961AF1E-216C-4BB6-9EE5-7371E4FC1C1D}">
      <dgm:prSet/>
      <dgm:spPr/>
      <dgm:t>
        <a:bodyPr/>
        <a:lstStyle/>
        <a:p>
          <a:endParaRPr lang="en-US"/>
        </a:p>
      </dgm:t>
    </dgm:pt>
    <dgm:pt modelId="{DAD1C729-3835-4292-B8AF-C734A9589CDA}">
      <dgm:prSet/>
      <dgm:spPr/>
      <dgm:t>
        <a:bodyPr/>
        <a:lstStyle/>
        <a:p>
          <a:r>
            <a:rPr lang="en-US" dirty="0" smtClean="0"/>
            <a:t> Scheduler Agent Supervisor</a:t>
          </a:r>
        </a:p>
      </dgm:t>
    </dgm:pt>
    <dgm:pt modelId="{EF3CED3E-04D3-46C9-85D4-132182F90696}" type="parTrans" cxnId="{0B2752E5-F341-4A18-8A59-C15C3D1729CB}">
      <dgm:prSet/>
      <dgm:spPr/>
      <dgm:t>
        <a:bodyPr/>
        <a:lstStyle/>
        <a:p>
          <a:endParaRPr lang="en-US"/>
        </a:p>
      </dgm:t>
    </dgm:pt>
    <dgm:pt modelId="{69A9897C-4D55-452C-944B-789BFE17C8B5}" type="sibTrans" cxnId="{0B2752E5-F341-4A18-8A59-C15C3D1729CB}">
      <dgm:prSet/>
      <dgm:spPr/>
      <dgm:t>
        <a:bodyPr/>
        <a:lstStyle/>
        <a:p>
          <a:endParaRPr lang="en-US"/>
        </a:p>
      </dgm:t>
    </dgm:pt>
    <dgm:pt modelId="{72CBC948-13AD-4A9B-B0BB-214E626CE7CA}">
      <dgm:prSet/>
      <dgm:spPr/>
      <dgm:t>
        <a:bodyPr/>
        <a:lstStyle/>
        <a:p>
          <a:endParaRPr lang="en-US" dirty="0"/>
        </a:p>
      </dgm:t>
    </dgm:pt>
    <dgm:pt modelId="{C711E341-BD34-4496-B915-1F637885CB5E}" type="parTrans" cxnId="{D8BCEECA-AC1E-424C-BCA9-965198787EF6}">
      <dgm:prSet/>
      <dgm:spPr/>
      <dgm:t>
        <a:bodyPr/>
        <a:lstStyle/>
        <a:p>
          <a:endParaRPr lang="en-US"/>
        </a:p>
      </dgm:t>
    </dgm:pt>
    <dgm:pt modelId="{1BBEDC4C-A41C-4524-BE02-70660E1BE469}" type="sibTrans" cxnId="{D8BCEECA-AC1E-424C-BCA9-965198787EF6}">
      <dgm:prSet/>
      <dgm:spPr/>
      <dgm:t>
        <a:bodyPr/>
        <a:lstStyle/>
        <a:p>
          <a:endParaRPr lang="en-US"/>
        </a:p>
      </dgm:t>
    </dgm:pt>
    <dgm:pt modelId="{D9162FA9-B278-470E-BB1E-DB5D4077F40F}">
      <dgm:prSet/>
      <dgm:spPr/>
      <dgm:t>
        <a:bodyPr/>
        <a:lstStyle/>
        <a:p>
          <a:endParaRPr lang="en-US" dirty="0"/>
        </a:p>
      </dgm:t>
    </dgm:pt>
    <dgm:pt modelId="{0D8D35AF-789E-4525-96B6-51DB55142098}" type="parTrans" cxnId="{6F766BB1-42CF-4749-A2D6-9FEA3ABDAB9B}">
      <dgm:prSet/>
      <dgm:spPr/>
      <dgm:t>
        <a:bodyPr/>
        <a:lstStyle/>
        <a:p>
          <a:endParaRPr lang="en-US"/>
        </a:p>
      </dgm:t>
    </dgm:pt>
    <dgm:pt modelId="{77ED8538-D0C1-4A58-9CBD-E34BAE302DF3}" type="sibTrans" cxnId="{6F766BB1-42CF-4749-A2D6-9FEA3ABDAB9B}">
      <dgm:prSet/>
      <dgm:spPr/>
      <dgm:t>
        <a:bodyPr/>
        <a:lstStyle/>
        <a:p>
          <a:endParaRPr lang="en-US"/>
        </a:p>
      </dgm:t>
    </dgm:pt>
    <dgm:pt modelId="{2FE5DF42-1ED1-4710-89C2-427C64A13144}">
      <dgm:prSet/>
      <dgm:spPr/>
      <dgm:t>
        <a:bodyPr/>
        <a:lstStyle/>
        <a:p>
          <a:endParaRPr lang="en-US" dirty="0"/>
        </a:p>
      </dgm:t>
    </dgm:pt>
    <dgm:pt modelId="{912DB2FD-972A-4916-9703-E1289578FEAA}" type="parTrans" cxnId="{824741AA-8C0E-438C-B7B6-A3D2F3106144}">
      <dgm:prSet/>
      <dgm:spPr/>
      <dgm:t>
        <a:bodyPr/>
        <a:lstStyle/>
        <a:p>
          <a:endParaRPr lang="en-US"/>
        </a:p>
      </dgm:t>
    </dgm:pt>
    <dgm:pt modelId="{1A85EBA5-F5A2-4D84-8E05-2B1BECB661FC}" type="sibTrans" cxnId="{824741AA-8C0E-438C-B7B6-A3D2F3106144}">
      <dgm:prSet/>
      <dgm:spPr/>
      <dgm:t>
        <a:bodyPr/>
        <a:lstStyle/>
        <a:p>
          <a:endParaRPr lang="en-US"/>
        </a:p>
      </dgm:t>
    </dgm:pt>
    <dgm:pt modelId="{C91998ED-BB0C-4781-9440-9EE0778DE2D4}">
      <dgm:prSet/>
      <dgm:spPr/>
      <dgm:t>
        <a:bodyPr/>
        <a:lstStyle/>
        <a:p>
          <a:endParaRPr lang="en-US" dirty="0"/>
        </a:p>
      </dgm:t>
    </dgm:pt>
    <dgm:pt modelId="{843F7AB5-D3E7-4AE0-9C1E-01CC18C51A99}" type="sibTrans" cxnId="{D95F247E-3A76-4E25-BEEE-3E6552DD0142}">
      <dgm:prSet/>
      <dgm:spPr/>
      <dgm:t>
        <a:bodyPr/>
        <a:lstStyle/>
        <a:p>
          <a:endParaRPr lang="en-US"/>
        </a:p>
      </dgm:t>
    </dgm:pt>
    <dgm:pt modelId="{D0189AF6-71A6-44F8-91BC-425109888FF3}" type="parTrans" cxnId="{D95F247E-3A76-4E25-BEEE-3E6552DD0142}">
      <dgm:prSet/>
      <dgm:spPr/>
      <dgm:t>
        <a:bodyPr/>
        <a:lstStyle/>
        <a:p>
          <a:endParaRPr lang="en-US"/>
        </a:p>
      </dgm:t>
    </dgm:pt>
    <dgm:pt modelId="{2D9D7E7B-0987-42E3-8E7E-3BFFC99495B3}">
      <dgm:prSet/>
      <dgm:spPr/>
      <dgm:t>
        <a:bodyPr/>
        <a:lstStyle/>
        <a:p>
          <a:r>
            <a:rPr lang="en-US" dirty="0"/>
            <a:t>Use a queue that acts as a buffer between a task and a service that it invokes in order </a:t>
          </a:r>
          <a:r>
            <a:rPr lang="en-US" dirty="0" smtClean="0"/>
            <a:t>to smooth intermittent heavy loads that may otherwise cause the service to fail or the task to timeout. This pattern can help to minimize the impact of peaks in demand on availability and responsiveness for both the task and the service</a:t>
          </a:r>
          <a:endParaRPr lang="en-US" dirty="0"/>
        </a:p>
      </dgm:t>
    </dgm:pt>
    <dgm:pt modelId="{72396CFD-6963-43E9-9EE5-7A46E66003B1}" type="parTrans" cxnId="{7D8BE359-0FEE-4F38-8F7B-8054F34D1C57}">
      <dgm:prSet/>
      <dgm:spPr/>
      <dgm:t>
        <a:bodyPr/>
        <a:lstStyle/>
        <a:p>
          <a:endParaRPr lang="en-US"/>
        </a:p>
      </dgm:t>
    </dgm:pt>
    <dgm:pt modelId="{05B92ECB-39A4-4503-9D96-D7BDC3728C71}" type="sibTrans" cxnId="{7D8BE359-0FEE-4F38-8F7B-8054F34D1C57}">
      <dgm:prSet/>
      <dgm:spPr/>
      <dgm:t>
        <a:bodyPr/>
        <a:lstStyle/>
        <a:p>
          <a:endParaRPr lang="en-US"/>
        </a:p>
      </dgm:t>
    </dgm:pt>
    <dgm:pt modelId="{F6C6A3BA-DF34-4480-A58F-92F0620A233F}">
      <dgm:prSet/>
      <dgm:spPr/>
      <dgm:t>
        <a:bodyPr/>
        <a:lstStyle/>
        <a:p>
          <a:r>
            <a:rPr lang="en-US" dirty="0"/>
            <a:t>Enable an application to handle temporary failures when connecting to a service or </a:t>
          </a:r>
          <a:r>
            <a:rPr lang="en-US" dirty="0" smtClean="0"/>
            <a:t>network resource by transparently retrying the operation in the expectation that the failure is transient. This pattern can improve the stability of the application.</a:t>
          </a:r>
          <a:endParaRPr lang="en-US" dirty="0"/>
        </a:p>
      </dgm:t>
    </dgm:pt>
    <dgm:pt modelId="{AC0438CA-F001-43F0-ACC5-94BDADA34719}" type="parTrans" cxnId="{E09FF7E5-6113-45E5-8A66-13E3EF16C748}">
      <dgm:prSet/>
      <dgm:spPr/>
      <dgm:t>
        <a:bodyPr/>
        <a:lstStyle/>
        <a:p>
          <a:endParaRPr lang="en-US"/>
        </a:p>
      </dgm:t>
    </dgm:pt>
    <dgm:pt modelId="{B9953C52-0224-414B-A9F6-B4E0B3B701D6}" type="sibTrans" cxnId="{E09FF7E5-6113-45E5-8A66-13E3EF16C748}">
      <dgm:prSet/>
      <dgm:spPr/>
      <dgm:t>
        <a:bodyPr/>
        <a:lstStyle/>
        <a:p>
          <a:endParaRPr lang="en-US"/>
        </a:p>
      </dgm:t>
    </dgm:pt>
    <dgm:pt modelId="{5005AB05-2F8A-4059-B08F-17392C442FF2}">
      <dgm:prSet/>
      <dgm:spPr/>
      <dgm:t>
        <a:bodyPr/>
        <a:lstStyle/>
        <a:p>
          <a:r>
            <a:rPr lang="en-US" dirty="0"/>
            <a:t>Design an application so that it can be reconfigured without requiring redeployment </a:t>
          </a:r>
          <a:r>
            <a:rPr lang="en-US" dirty="0" smtClean="0"/>
            <a:t>or restarting the application. This helps to maintain availability and minimize downtime</a:t>
          </a:r>
          <a:endParaRPr lang="en-US" dirty="0"/>
        </a:p>
      </dgm:t>
    </dgm:pt>
    <dgm:pt modelId="{76A21A42-D135-45CD-AC01-5CC3F855B3C8}" type="parTrans" cxnId="{9E85B5F8-9F41-445B-99C4-A2CFC7F144E8}">
      <dgm:prSet/>
      <dgm:spPr/>
      <dgm:t>
        <a:bodyPr/>
        <a:lstStyle/>
        <a:p>
          <a:endParaRPr lang="en-US"/>
        </a:p>
      </dgm:t>
    </dgm:pt>
    <dgm:pt modelId="{F8AB5512-0CD2-4C68-A307-1B9FEE64E37D}" type="sibTrans" cxnId="{9E85B5F8-9F41-445B-99C4-A2CFC7F144E8}">
      <dgm:prSet/>
      <dgm:spPr/>
      <dgm:t>
        <a:bodyPr/>
        <a:lstStyle/>
        <a:p>
          <a:endParaRPr lang="en-US"/>
        </a:p>
      </dgm:t>
    </dgm:pt>
    <dgm:pt modelId="{EB8D0FC1-E312-4F33-9AF0-306642EFB16D}">
      <dgm:prSet/>
      <dgm:spPr/>
      <dgm:t>
        <a:bodyPr/>
        <a:lstStyle/>
        <a:p>
          <a:r>
            <a:rPr lang="en-US" dirty="0"/>
            <a:t>Coordinate a set of actions across a distributed set of services and other remote resources</a:t>
          </a:r>
          <a:r>
            <a:rPr lang="en-US" dirty="0" smtClean="0"/>
            <a:t>, attempt to transparently handle faults if any of these actions fail, or undo the effects of the work performed if the system cannot recover from a fault. This pattern can add resiliency to a distributed system by enabling it to recover and retry actions that fail due to transient exceptions, long-lasting faults, and process failures</a:t>
          </a:r>
          <a:endParaRPr lang="en-US" dirty="0"/>
        </a:p>
      </dgm:t>
    </dgm:pt>
    <dgm:pt modelId="{ADE9F52C-FDC3-4CF4-84EE-A95FFDEB4E62}" type="parTrans" cxnId="{ED79D4F1-5305-4E80-B82D-36D5131C38AF}">
      <dgm:prSet/>
      <dgm:spPr/>
      <dgm:t>
        <a:bodyPr/>
        <a:lstStyle/>
        <a:p>
          <a:endParaRPr lang="en-US"/>
        </a:p>
      </dgm:t>
    </dgm:pt>
    <dgm:pt modelId="{74051F11-8425-442E-A3C1-CF6F8CDA2856}" type="sibTrans" cxnId="{ED79D4F1-5305-4E80-B82D-36D5131C38AF}">
      <dgm:prSet/>
      <dgm:spPr/>
      <dgm:t>
        <a:bodyPr/>
        <a:lstStyle/>
        <a:p>
          <a:endParaRPr lang="en-US"/>
        </a:p>
      </dgm:t>
    </dgm:pt>
    <dgm:pt modelId="{7D866A17-B519-4720-B731-2F2CAAE8A753}" type="pres">
      <dgm:prSet presAssocID="{8EB9B1A1-0D31-4E2E-AB20-BBC60539E84C}" presName="linear" presStyleCnt="0">
        <dgm:presLayoutVars>
          <dgm:dir/>
          <dgm:animLvl val="lvl"/>
          <dgm:resizeHandles val="exact"/>
        </dgm:presLayoutVars>
      </dgm:prSet>
      <dgm:spPr/>
      <dgm:t>
        <a:bodyPr/>
        <a:lstStyle/>
        <a:p>
          <a:endParaRPr lang="en-US"/>
        </a:p>
      </dgm:t>
    </dgm:pt>
    <dgm:pt modelId="{D81C93DC-45CB-485F-B922-C0D7F2434887}" type="pres">
      <dgm:prSet presAssocID="{921E94B1-24D6-4F32-8695-475DB47DBFE0}" presName="parentLin" presStyleCnt="0"/>
      <dgm:spPr/>
    </dgm:pt>
    <dgm:pt modelId="{FC169198-585F-4439-9CC9-A4A324505039}" type="pres">
      <dgm:prSet presAssocID="{921E94B1-24D6-4F32-8695-475DB47DBFE0}" presName="parentLeftMargin" presStyleLbl="node1" presStyleIdx="0" presStyleCnt="4"/>
      <dgm:spPr/>
      <dgm:t>
        <a:bodyPr/>
        <a:lstStyle/>
        <a:p>
          <a:endParaRPr lang="en-US"/>
        </a:p>
      </dgm:t>
    </dgm:pt>
    <dgm:pt modelId="{C48FAAEF-316F-442F-831B-99898CA480EE}" type="pres">
      <dgm:prSet presAssocID="{921E94B1-24D6-4F32-8695-475DB47DBFE0}" presName="parentText" presStyleLbl="node1" presStyleIdx="0" presStyleCnt="4" custLinFactNeighborY="-6550">
        <dgm:presLayoutVars>
          <dgm:chMax val="0"/>
          <dgm:bulletEnabled val="1"/>
        </dgm:presLayoutVars>
      </dgm:prSet>
      <dgm:spPr/>
      <dgm:t>
        <a:bodyPr/>
        <a:lstStyle/>
        <a:p>
          <a:endParaRPr lang="en-US"/>
        </a:p>
      </dgm:t>
    </dgm:pt>
    <dgm:pt modelId="{D5E4B61F-756E-412B-AF49-939504950A5E}" type="pres">
      <dgm:prSet presAssocID="{921E94B1-24D6-4F32-8695-475DB47DBFE0}" presName="negativeSpace" presStyleCnt="0"/>
      <dgm:spPr/>
    </dgm:pt>
    <dgm:pt modelId="{EBF3AC11-2E12-4C47-8B58-827700ED806C}" type="pres">
      <dgm:prSet presAssocID="{921E94B1-24D6-4F32-8695-475DB47DBFE0}" presName="childText" presStyleLbl="conFgAcc1" presStyleIdx="0" presStyleCnt="4">
        <dgm:presLayoutVars>
          <dgm:bulletEnabled val="1"/>
        </dgm:presLayoutVars>
      </dgm:prSet>
      <dgm:spPr/>
      <dgm:t>
        <a:bodyPr/>
        <a:lstStyle/>
        <a:p>
          <a:endParaRPr lang="en-US"/>
        </a:p>
      </dgm:t>
    </dgm:pt>
    <dgm:pt modelId="{3B88643E-FA24-4410-9784-FF95C46455A6}" type="pres">
      <dgm:prSet presAssocID="{74A961DE-E8E4-44A7-BBE9-D6C77CCE100A}" presName="spaceBetweenRectangles" presStyleCnt="0"/>
      <dgm:spPr/>
    </dgm:pt>
    <dgm:pt modelId="{B447AC6E-F4B0-4EC3-AF73-8B9EBB008084}" type="pres">
      <dgm:prSet presAssocID="{59DFD1AC-B55B-435C-81C6-CB158673C313}" presName="parentLin" presStyleCnt="0"/>
      <dgm:spPr/>
    </dgm:pt>
    <dgm:pt modelId="{3AB7DCF5-DD5B-431E-B597-8B99959D1E50}" type="pres">
      <dgm:prSet presAssocID="{59DFD1AC-B55B-435C-81C6-CB158673C313}" presName="parentLeftMargin" presStyleLbl="node1" presStyleIdx="0" presStyleCnt="4"/>
      <dgm:spPr/>
      <dgm:t>
        <a:bodyPr/>
        <a:lstStyle/>
        <a:p>
          <a:endParaRPr lang="en-US"/>
        </a:p>
      </dgm:t>
    </dgm:pt>
    <dgm:pt modelId="{8BE8B1BA-53F8-46A6-A814-18C37C110FA0}" type="pres">
      <dgm:prSet presAssocID="{59DFD1AC-B55B-435C-81C6-CB158673C313}" presName="parentText" presStyleLbl="node1" presStyleIdx="1" presStyleCnt="4">
        <dgm:presLayoutVars>
          <dgm:chMax val="0"/>
          <dgm:bulletEnabled val="1"/>
        </dgm:presLayoutVars>
      </dgm:prSet>
      <dgm:spPr/>
      <dgm:t>
        <a:bodyPr/>
        <a:lstStyle/>
        <a:p>
          <a:endParaRPr lang="en-US"/>
        </a:p>
      </dgm:t>
    </dgm:pt>
    <dgm:pt modelId="{C52D9BC2-49A5-4533-8D35-D8B43B470204}" type="pres">
      <dgm:prSet presAssocID="{59DFD1AC-B55B-435C-81C6-CB158673C313}" presName="negativeSpace" presStyleCnt="0"/>
      <dgm:spPr/>
    </dgm:pt>
    <dgm:pt modelId="{FA535823-8E65-4FAB-95E9-3E1412AEA286}" type="pres">
      <dgm:prSet presAssocID="{59DFD1AC-B55B-435C-81C6-CB158673C313}" presName="childText" presStyleLbl="conFgAcc1" presStyleIdx="1" presStyleCnt="4">
        <dgm:presLayoutVars>
          <dgm:bulletEnabled val="1"/>
        </dgm:presLayoutVars>
      </dgm:prSet>
      <dgm:spPr/>
      <dgm:t>
        <a:bodyPr/>
        <a:lstStyle/>
        <a:p>
          <a:endParaRPr lang="en-US"/>
        </a:p>
      </dgm:t>
    </dgm:pt>
    <dgm:pt modelId="{64439DA3-CF38-422C-AB38-8DE6667DD32C}" type="pres">
      <dgm:prSet presAssocID="{8A84534C-771B-413D-BEE2-6BD156CC5344}" presName="spaceBetweenRectangles" presStyleCnt="0"/>
      <dgm:spPr/>
    </dgm:pt>
    <dgm:pt modelId="{977D3DE8-7ADA-4CF7-9A61-828C6D822B7F}" type="pres">
      <dgm:prSet presAssocID="{E81A095E-30CF-402C-8331-BC693AF4205D}" presName="parentLin" presStyleCnt="0"/>
      <dgm:spPr/>
    </dgm:pt>
    <dgm:pt modelId="{F51EBEA6-B8A3-4648-89D3-D63F8B9D47D4}" type="pres">
      <dgm:prSet presAssocID="{E81A095E-30CF-402C-8331-BC693AF4205D}" presName="parentLeftMargin" presStyleLbl="node1" presStyleIdx="1" presStyleCnt="4"/>
      <dgm:spPr/>
      <dgm:t>
        <a:bodyPr/>
        <a:lstStyle/>
        <a:p>
          <a:endParaRPr lang="en-US"/>
        </a:p>
      </dgm:t>
    </dgm:pt>
    <dgm:pt modelId="{18369FC7-CAAA-4070-84FA-3F8768EE506F}" type="pres">
      <dgm:prSet presAssocID="{E81A095E-30CF-402C-8331-BC693AF4205D}" presName="parentText" presStyleLbl="node1" presStyleIdx="2" presStyleCnt="4">
        <dgm:presLayoutVars>
          <dgm:chMax val="0"/>
          <dgm:bulletEnabled val="1"/>
        </dgm:presLayoutVars>
      </dgm:prSet>
      <dgm:spPr/>
      <dgm:t>
        <a:bodyPr/>
        <a:lstStyle/>
        <a:p>
          <a:endParaRPr lang="en-US"/>
        </a:p>
      </dgm:t>
    </dgm:pt>
    <dgm:pt modelId="{179A316F-956E-4D17-8AF2-BBE53E2B3EBD}" type="pres">
      <dgm:prSet presAssocID="{E81A095E-30CF-402C-8331-BC693AF4205D}" presName="negativeSpace" presStyleCnt="0"/>
      <dgm:spPr/>
    </dgm:pt>
    <dgm:pt modelId="{E30A212C-8B56-43EC-9F43-A857F36128D3}" type="pres">
      <dgm:prSet presAssocID="{E81A095E-30CF-402C-8331-BC693AF4205D}" presName="childText" presStyleLbl="conFgAcc1" presStyleIdx="2" presStyleCnt="4">
        <dgm:presLayoutVars>
          <dgm:bulletEnabled val="1"/>
        </dgm:presLayoutVars>
      </dgm:prSet>
      <dgm:spPr/>
      <dgm:t>
        <a:bodyPr/>
        <a:lstStyle/>
        <a:p>
          <a:endParaRPr lang="en-US"/>
        </a:p>
      </dgm:t>
    </dgm:pt>
    <dgm:pt modelId="{A2733866-179E-4363-94C3-BEBA67EC2D84}" type="pres">
      <dgm:prSet presAssocID="{6CCB7512-7B2D-4407-A223-5D1FD0E01C1B}" presName="spaceBetweenRectangles" presStyleCnt="0"/>
      <dgm:spPr/>
    </dgm:pt>
    <dgm:pt modelId="{F4B64ACE-EE04-44A3-97F0-84D296704355}" type="pres">
      <dgm:prSet presAssocID="{DAD1C729-3835-4292-B8AF-C734A9589CDA}" presName="parentLin" presStyleCnt="0"/>
      <dgm:spPr/>
    </dgm:pt>
    <dgm:pt modelId="{C32D4C31-8664-4625-8E8A-09193F981AEE}" type="pres">
      <dgm:prSet presAssocID="{DAD1C729-3835-4292-B8AF-C734A9589CDA}" presName="parentLeftMargin" presStyleLbl="node1" presStyleIdx="2" presStyleCnt="4"/>
      <dgm:spPr/>
      <dgm:t>
        <a:bodyPr/>
        <a:lstStyle/>
        <a:p>
          <a:endParaRPr lang="en-US"/>
        </a:p>
      </dgm:t>
    </dgm:pt>
    <dgm:pt modelId="{81A2ABC5-D4F4-4186-BEFC-9B39EB4F6291}" type="pres">
      <dgm:prSet presAssocID="{DAD1C729-3835-4292-B8AF-C734A9589CDA}" presName="parentText" presStyleLbl="node1" presStyleIdx="3" presStyleCnt="4">
        <dgm:presLayoutVars>
          <dgm:chMax val="0"/>
          <dgm:bulletEnabled val="1"/>
        </dgm:presLayoutVars>
      </dgm:prSet>
      <dgm:spPr/>
      <dgm:t>
        <a:bodyPr/>
        <a:lstStyle/>
        <a:p>
          <a:endParaRPr lang="en-US"/>
        </a:p>
      </dgm:t>
    </dgm:pt>
    <dgm:pt modelId="{967F4C61-A316-43FD-9DDE-B78BEA2DFAFC}" type="pres">
      <dgm:prSet presAssocID="{DAD1C729-3835-4292-B8AF-C734A9589CDA}" presName="negativeSpace" presStyleCnt="0"/>
      <dgm:spPr/>
    </dgm:pt>
    <dgm:pt modelId="{81B5700F-3815-4B59-BA07-600308D1BB5E}" type="pres">
      <dgm:prSet presAssocID="{DAD1C729-3835-4292-B8AF-C734A9589CDA}" presName="childText" presStyleLbl="conFgAcc1" presStyleIdx="3" presStyleCnt="4">
        <dgm:presLayoutVars>
          <dgm:bulletEnabled val="1"/>
        </dgm:presLayoutVars>
      </dgm:prSet>
      <dgm:spPr/>
      <dgm:t>
        <a:bodyPr/>
        <a:lstStyle/>
        <a:p>
          <a:endParaRPr lang="en-US"/>
        </a:p>
      </dgm:t>
    </dgm:pt>
  </dgm:ptLst>
  <dgm:cxnLst>
    <dgm:cxn modelId="{AFD3032C-6E03-4660-AA43-B629E8520534}" type="presOf" srcId="{59DFD1AC-B55B-435C-81C6-CB158673C313}" destId="{8BE8B1BA-53F8-46A6-A814-18C37C110FA0}" srcOrd="1" destOrd="0" presId="urn:microsoft.com/office/officeart/2005/8/layout/list1"/>
    <dgm:cxn modelId="{6F766BB1-42CF-4749-A2D6-9FEA3ABDAB9B}" srcId="{E81A095E-30CF-402C-8331-BC693AF4205D}" destId="{D9162FA9-B278-470E-BB1E-DB5D4077F40F}" srcOrd="0" destOrd="0" parTransId="{0D8D35AF-789E-4525-96B6-51DB55142098}" sibTransId="{77ED8538-D0C1-4A58-9CBD-E34BAE302DF3}"/>
    <dgm:cxn modelId="{D95F247E-3A76-4E25-BEEE-3E6552DD0142}" srcId="{921E94B1-24D6-4F32-8695-475DB47DBFE0}" destId="{C91998ED-BB0C-4781-9440-9EE0778DE2D4}" srcOrd="0" destOrd="0" parTransId="{D0189AF6-71A6-44F8-91BC-425109888FF3}" sibTransId="{843F7AB5-D3E7-4AE0-9C1E-01CC18C51A99}"/>
    <dgm:cxn modelId="{9A7E85CE-F580-4A98-9246-9769DA1EF4BA}" type="presOf" srcId="{2FE5DF42-1ED1-4710-89C2-427C64A13144}" destId="{81B5700F-3815-4B59-BA07-600308D1BB5E}" srcOrd="0" destOrd="0" presId="urn:microsoft.com/office/officeart/2005/8/layout/list1"/>
    <dgm:cxn modelId="{EC252145-A912-4698-8A5F-E3F9DBBE783F}" type="presOf" srcId="{EB8D0FC1-E312-4F33-9AF0-306642EFB16D}" destId="{81B5700F-3815-4B59-BA07-600308D1BB5E}" srcOrd="0" destOrd="1" presId="urn:microsoft.com/office/officeart/2005/8/layout/list1"/>
    <dgm:cxn modelId="{B961AF1E-216C-4BB6-9EE5-7371E4FC1C1D}" srcId="{8EB9B1A1-0D31-4E2E-AB20-BBC60539E84C}" destId="{E81A095E-30CF-402C-8331-BC693AF4205D}" srcOrd="2" destOrd="0" parTransId="{4786696F-2B9B-416B-8E04-D6D8BAA94438}" sibTransId="{6CCB7512-7B2D-4407-A223-5D1FD0E01C1B}"/>
    <dgm:cxn modelId="{434D346C-3C44-4A0F-A3A0-CF99FBD297BA}" type="presOf" srcId="{DAD1C729-3835-4292-B8AF-C734A9589CDA}" destId="{81A2ABC5-D4F4-4186-BEFC-9B39EB4F6291}" srcOrd="1" destOrd="0" presId="urn:microsoft.com/office/officeart/2005/8/layout/list1"/>
    <dgm:cxn modelId="{D5C830DD-2729-4093-98F6-E3FCB4BC6C81}" type="presOf" srcId="{72CBC948-13AD-4A9B-B0BB-214E626CE7CA}" destId="{FA535823-8E65-4FAB-95E9-3E1412AEA286}" srcOrd="0" destOrd="0" presId="urn:microsoft.com/office/officeart/2005/8/layout/list1"/>
    <dgm:cxn modelId="{85FF7574-A9FD-4822-BADF-57BBA9BA4CDD}" type="presOf" srcId="{921E94B1-24D6-4F32-8695-475DB47DBFE0}" destId="{FC169198-585F-4439-9CC9-A4A324505039}" srcOrd="0" destOrd="0" presId="urn:microsoft.com/office/officeart/2005/8/layout/list1"/>
    <dgm:cxn modelId="{9301B2B3-42A1-4387-B763-AF01AE32B9A6}" type="presOf" srcId="{921E94B1-24D6-4F32-8695-475DB47DBFE0}" destId="{C48FAAEF-316F-442F-831B-99898CA480EE}" srcOrd="1" destOrd="0" presId="urn:microsoft.com/office/officeart/2005/8/layout/list1"/>
    <dgm:cxn modelId="{54C6401B-161A-439F-98D9-FDEA26B97FCD}" type="presOf" srcId="{F6C6A3BA-DF34-4480-A58F-92F0620A233F}" destId="{FA535823-8E65-4FAB-95E9-3E1412AEA286}" srcOrd="0" destOrd="1" presId="urn:microsoft.com/office/officeart/2005/8/layout/list1"/>
    <dgm:cxn modelId="{824741AA-8C0E-438C-B7B6-A3D2F3106144}" srcId="{DAD1C729-3835-4292-B8AF-C734A9589CDA}" destId="{2FE5DF42-1ED1-4710-89C2-427C64A13144}" srcOrd="0" destOrd="0" parTransId="{912DB2FD-972A-4916-9703-E1289578FEAA}" sibTransId="{1A85EBA5-F5A2-4D84-8E05-2B1BECB661FC}"/>
    <dgm:cxn modelId="{2A5FA21F-CD30-42AC-B365-1FED07DACF3E}" type="presOf" srcId="{2D9D7E7B-0987-42E3-8E7E-3BFFC99495B3}" destId="{EBF3AC11-2E12-4C47-8B58-827700ED806C}" srcOrd="0" destOrd="1" presId="urn:microsoft.com/office/officeart/2005/8/layout/list1"/>
    <dgm:cxn modelId="{ADCFDC32-B3EC-470C-9FBE-CAF675ACD06E}" srcId="{8EB9B1A1-0D31-4E2E-AB20-BBC60539E84C}" destId="{921E94B1-24D6-4F32-8695-475DB47DBFE0}" srcOrd="0" destOrd="0" parTransId="{98AB07B5-7A9C-4515-BCEC-30687D8E0D34}" sibTransId="{74A961DE-E8E4-44A7-BBE9-D6C77CCE100A}"/>
    <dgm:cxn modelId="{FF31B088-5D91-4E7A-A411-31FC85AD23C6}" srcId="{8EB9B1A1-0D31-4E2E-AB20-BBC60539E84C}" destId="{59DFD1AC-B55B-435C-81C6-CB158673C313}" srcOrd="1" destOrd="0" parTransId="{089FCC58-B398-4F53-A5F8-B65933724CB0}" sibTransId="{8A84534C-771B-413D-BEE2-6BD156CC5344}"/>
    <dgm:cxn modelId="{E09FF7E5-6113-45E5-8A66-13E3EF16C748}" srcId="{59DFD1AC-B55B-435C-81C6-CB158673C313}" destId="{F6C6A3BA-DF34-4480-A58F-92F0620A233F}" srcOrd="1" destOrd="0" parTransId="{AC0438CA-F001-43F0-ACC5-94BDADA34719}" sibTransId="{B9953C52-0224-414B-A9F6-B4E0B3B701D6}"/>
    <dgm:cxn modelId="{8DBBA57B-18D4-4F61-9AE3-A4557D39D388}" type="presOf" srcId="{C91998ED-BB0C-4781-9440-9EE0778DE2D4}" destId="{EBF3AC11-2E12-4C47-8B58-827700ED806C}" srcOrd="0" destOrd="0" presId="urn:microsoft.com/office/officeart/2005/8/layout/list1"/>
    <dgm:cxn modelId="{6D8975C5-E9EC-4C4B-A80F-FAD77F248F83}" type="presOf" srcId="{E81A095E-30CF-402C-8331-BC693AF4205D}" destId="{18369FC7-CAAA-4070-84FA-3F8768EE506F}" srcOrd="1" destOrd="0" presId="urn:microsoft.com/office/officeart/2005/8/layout/list1"/>
    <dgm:cxn modelId="{5A4E7C4A-9429-4FCB-B139-FFFCC562AEF5}" type="presOf" srcId="{D9162FA9-B278-470E-BB1E-DB5D4077F40F}" destId="{E30A212C-8B56-43EC-9F43-A857F36128D3}" srcOrd="0" destOrd="0" presId="urn:microsoft.com/office/officeart/2005/8/layout/list1"/>
    <dgm:cxn modelId="{0B2752E5-F341-4A18-8A59-C15C3D1729CB}" srcId="{8EB9B1A1-0D31-4E2E-AB20-BBC60539E84C}" destId="{DAD1C729-3835-4292-B8AF-C734A9589CDA}" srcOrd="3" destOrd="0" parTransId="{EF3CED3E-04D3-46C9-85D4-132182F90696}" sibTransId="{69A9897C-4D55-452C-944B-789BFE17C8B5}"/>
    <dgm:cxn modelId="{A2267979-172F-4B84-844C-8C2A15640EE9}" type="presOf" srcId="{59DFD1AC-B55B-435C-81C6-CB158673C313}" destId="{3AB7DCF5-DD5B-431E-B597-8B99959D1E50}" srcOrd="0" destOrd="0" presId="urn:microsoft.com/office/officeart/2005/8/layout/list1"/>
    <dgm:cxn modelId="{B6B1C5EF-774F-4CA3-BCC7-965FAF593DAF}" type="presOf" srcId="{DAD1C729-3835-4292-B8AF-C734A9589CDA}" destId="{C32D4C31-8664-4625-8E8A-09193F981AEE}" srcOrd="0" destOrd="0" presId="urn:microsoft.com/office/officeart/2005/8/layout/list1"/>
    <dgm:cxn modelId="{D8BCEECA-AC1E-424C-BCA9-965198787EF6}" srcId="{59DFD1AC-B55B-435C-81C6-CB158673C313}" destId="{72CBC948-13AD-4A9B-B0BB-214E626CE7CA}" srcOrd="0" destOrd="0" parTransId="{C711E341-BD34-4496-B915-1F637885CB5E}" sibTransId="{1BBEDC4C-A41C-4524-BE02-70660E1BE469}"/>
    <dgm:cxn modelId="{F0E14313-E604-46AF-89CE-B5FAD30BABD2}" type="presOf" srcId="{5005AB05-2F8A-4059-B08F-17392C442FF2}" destId="{E30A212C-8B56-43EC-9F43-A857F36128D3}" srcOrd="0" destOrd="1" presId="urn:microsoft.com/office/officeart/2005/8/layout/list1"/>
    <dgm:cxn modelId="{56D6C0E6-93CA-4C36-A111-CADA2C709BA9}" type="presOf" srcId="{E81A095E-30CF-402C-8331-BC693AF4205D}" destId="{F51EBEA6-B8A3-4648-89D3-D63F8B9D47D4}" srcOrd="0" destOrd="0" presId="urn:microsoft.com/office/officeart/2005/8/layout/list1"/>
    <dgm:cxn modelId="{ED79D4F1-5305-4E80-B82D-36D5131C38AF}" srcId="{DAD1C729-3835-4292-B8AF-C734A9589CDA}" destId="{EB8D0FC1-E312-4F33-9AF0-306642EFB16D}" srcOrd="1" destOrd="0" parTransId="{ADE9F52C-FDC3-4CF4-84EE-A95FFDEB4E62}" sibTransId="{74051F11-8425-442E-A3C1-CF6F8CDA2856}"/>
    <dgm:cxn modelId="{1571DC69-3948-4093-83B1-984BF7550424}" type="presOf" srcId="{8EB9B1A1-0D31-4E2E-AB20-BBC60539E84C}" destId="{7D866A17-B519-4720-B731-2F2CAAE8A753}" srcOrd="0" destOrd="0" presId="urn:microsoft.com/office/officeart/2005/8/layout/list1"/>
    <dgm:cxn modelId="{9E85B5F8-9F41-445B-99C4-A2CFC7F144E8}" srcId="{E81A095E-30CF-402C-8331-BC693AF4205D}" destId="{5005AB05-2F8A-4059-B08F-17392C442FF2}" srcOrd="1" destOrd="0" parTransId="{76A21A42-D135-45CD-AC01-5CC3F855B3C8}" sibTransId="{F8AB5512-0CD2-4C68-A307-1B9FEE64E37D}"/>
    <dgm:cxn modelId="{7D8BE359-0FEE-4F38-8F7B-8054F34D1C57}" srcId="{921E94B1-24D6-4F32-8695-475DB47DBFE0}" destId="{2D9D7E7B-0987-42E3-8E7E-3BFFC99495B3}" srcOrd="1" destOrd="0" parTransId="{72396CFD-6963-43E9-9EE5-7A46E66003B1}" sibTransId="{05B92ECB-39A4-4503-9D96-D7BDC3728C71}"/>
    <dgm:cxn modelId="{165CF118-5997-4C9C-960F-B4E7C44AAB28}" type="presParOf" srcId="{7D866A17-B519-4720-B731-2F2CAAE8A753}" destId="{D81C93DC-45CB-485F-B922-C0D7F2434887}" srcOrd="0" destOrd="0" presId="urn:microsoft.com/office/officeart/2005/8/layout/list1"/>
    <dgm:cxn modelId="{37ED275F-9B26-419D-952E-6AF95C601AAB}" type="presParOf" srcId="{D81C93DC-45CB-485F-B922-C0D7F2434887}" destId="{FC169198-585F-4439-9CC9-A4A324505039}" srcOrd="0" destOrd="0" presId="urn:microsoft.com/office/officeart/2005/8/layout/list1"/>
    <dgm:cxn modelId="{2EF03E38-50FA-4E67-B42B-9D12CCDD7BBA}" type="presParOf" srcId="{D81C93DC-45CB-485F-B922-C0D7F2434887}" destId="{C48FAAEF-316F-442F-831B-99898CA480EE}" srcOrd="1" destOrd="0" presId="urn:microsoft.com/office/officeart/2005/8/layout/list1"/>
    <dgm:cxn modelId="{3CE53B1A-8D3F-498F-9793-E9639D07BC32}" type="presParOf" srcId="{7D866A17-B519-4720-B731-2F2CAAE8A753}" destId="{D5E4B61F-756E-412B-AF49-939504950A5E}" srcOrd="1" destOrd="0" presId="urn:microsoft.com/office/officeart/2005/8/layout/list1"/>
    <dgm:cxn modelId="{53023104-0BFC-4920-800B-D9A0F1F753F1}" type="presParOf" srcId="{7D866A17-B519-4720-B731-2F2CAAE8A753}" destId="{EBF3AC11-2E12-4C47-8B58-827700ED806C}" srcOrd="2" destOrd="0" presId="urn:microsoft.com/office/officeart/2005/8/layout/list1"/>
    <dgm:cxn modelId="{9C71B8EB-1436-4710-A733-BD7D956BEADD}" type="presParOf" srcId="{7D866A17-B519-4720-B731-2F2CAAE8A753}" destId="{3B88643E-FA24-4410-9784-FF95C46455A6}" srcOrd="3" destOrd="0" presId="urn:microsoft.com/office/officeart/2005/8/layout/list1"/>
    <dgm:cxn modelId="{84F35653-3221-4F1B-911D-723DA462E3DB}" type="presParOf" srcId="{7D866A17-B519-4720-B731-2F2CAAE8A753}" destId="{B447AC6E-F4B0-4EC3-AF73-8B9EBB008084}" srcOrd="4" destOrd="0" presId="urn:microsoft.com/office/officeart/2005/8/layout/list1"/>
    <dgm:cxn modelId="{D3C586C1-4AAE-4B35-B197-C1767BDEA7BF}" type="presParOf" srcId="{B447AC6E-F4B0-4EC3-AF73-8B9EBB008084}" destId="{3AB7DCF5-DD5B-431E-B597-8B99959D1E50}" srcOrd="0" destOrd="0" presId="urn:microsoft.com/office/officeart/2005/8/layout/list1"/>
    <dgm:cxn modelId="{2CA32D6C-B8E4-49CA-AB99-B9937508F1CB}" type="presParOf" srcId="{B447AC6E-F4B0-4EC3-AF73-8B9EBB008084}" destId="{8BE8B1BA-53F8-46A6-A814-18C37C110FA0}" srcOrd="1" destOrd="0" presId="urn:microsoft.com/office/officeart/2005/8/layout/list1"/>
    <dgm:cxn modelId="{312CA7D0-FFAA-4CF8-BEB2-716AB2E6F34F}" type="presParOf" srcId="{7D866A17-B519-4720-B731-2F2CAAE8A753}" destId="{C52D9BC2-49A5-4533-8D35-D8B43B470204}" srcOrd="5" destOrd="0" presId="urn:microsoft.com/office/officeart/2005/8/layout/list1"/>
    <dgm:cxn modelId="{817B9797-697F-4EB8-B2B9-75D7CD14FA86}" type="presParOf" srcId="{7D866A17-B519-4720-B731-2F2CAAE8A753}" destId="{FA535823-8E65-4FAB-95E9-3E1412AEA286}" srcOrd="6" destOrd="0" presId="urn:microsoft.com/office/officeart/2005/8/layout/list1"/>
    <dgm:cxn modelId="{F4CC55ED-8406-4129-9F51-6721BF6536BF}" type="presParOf" srcId="{7D866A17-B519-4720-B731-2F2CAAE8A753}" destId="{64439DA3-CF38-422C-AB38-8DE6667DD32C}" srcOrd="7" destOrd="0" presId="urn:microsoft.com/office/officeart/2005/8/layout/list1"/>
    <dgm:cxn modelId="{9A3AC478-B468-4BAE-8624-8FE23C35D933}" type="presParOf" srcId="{7D866A17-B519-4720-B731-2F2CAAE8A753}" destId="{977D3DE8-7ADA-4CF7-9A61-828C6D822B7F}" srcOrd="8" destOrd="0" presId="urn:microsoft.com/office/officeart/2005/8/layout/list1"/>
    <dgm:cxn modelId="{3FF7B4C4-DAD3-408B-8F96-7E1E21DA1E87}" type="presParOf" srcId="{977D3DE8-7ADA-4CF7-9A61-828C6D822B7F}" destId="{F51EBEA6-B8A3-4648-89D3-D63F8B9D47D4}" srcOrd="0" destOrd="0" presId="urn:microsoft.com/office/officeart/2005/8/layout/list1"/>
    <dgm:cxn modelId="{592D5E53-9D95-4180-A8BB-302B84ABF5C0}" type="presParOf" srcId="{977D3DE8-7ADA-4CF7-9A61-828C6D822B7F}" destId="{18369FC7-CAAA-4070-84FA-3F8768EE506F}" srcOrd="1" destOrd="0" presId="urn:microsoft.com/office/officeart/2005/8/layout/list1"/>
    <dgm:cxn modelId="{6B3EB38C-9D96-4D3E-A99D-B6BFE7384EFE}" type="presParOf" srcId="{7D866A17-B519-4720-B731-2F2CAAE8A753}" destId="{179A316F-956E-4D17-8AF2-BBE53E2B3EBD}" srcOrd="9" destOrd="0" presId="urn:microsoft.com/office/officeart/2005/8/layout/list1"/>
    <dgm:cxn modelId="{62193D8A-7326-429F-A332-55534299CA48}" type="presParOf" srcId="{7D866A17-B519-4720-B731-2F2CAAE8A753}" destId="{E30A212C-8B56-43EC-9F43-A857F36128D3}" srcOrd="10" destOrd="0" presId="urn:microsoft.com/office/officeart/2005/8/layout/list1"/>
    <dgm:cxn modelId="{E4DE5F25-61BD-4C9D-9DB1-7FACE7F17E9B}" type="presParOf" srcId="{7D866A17-B519-4720-B731-2F2CAAE8A753}" destId="{A2733866-179E-4363-94C3-BEBA67EC2D84}" srcOrd="11" destOrd="0" presId="urn:microsoft.com/office/officeart/2005/8/layout/list1"/>
    <dgm:cxn modelId="{C02CF3AD-65C5-45E9-890E-37F0A38770EA}" type="presParOf" srcId="{7D866A17-B519-4720-B731-2F2CAAE8A753}" destId="{F4B64ACE-EE04-44A3-97F0-84D296704355}" srcOrd="12" destOrd="0" presId="urn:microsoft.com/office/officeart/2005/8/layout/list1"/>
    <dgm:cxn modelId="{4A31BC61-826B-4541-BBA0-A04EC6EFF9A2}" type="presParOf" srcId="{F4B64ACE-EE04-44A3-97F0-84D296704355}" destId="{C32D4C31-8664-4625-8E8A-09193F981AEE}" srcOrd="0" destOrd="0" presId="urn:microsoft.com/office/officeart/2005/8/layout/list1"/>
    <dgm:cxn modelId="{F3C4E785-5641-4EE8-BB62-1A47A89BD45D}" type="presParOf" srcId="{F4B64ACE-EE04-44A3-97F0-84D296704355}" destId="{81A2ABC5-D4F4-4186-BEFC-9B39EB4F6291}" srcOrd="1" destOrd="0" presId="urn:microsoft.com/office/officeart/2005/8/layout/list1"/>
    <dgm:cxn modelId="{E36C33F4-46C7-4780-8620-FDD4D1E029FE}" type="presParOf" srcId="{7D866A17-B519-4720-B731-2F2CAAE8A753}" destId="{967F4C61-A316-43FD-9DDE-B78BEA2DFAFC}" srcOrd="13" destOrd="0" presId="urn:microsoft.com/office/officeart/2005/8/layout/list1"/>
    <dgm:cxn modelId="{CAC67FF4-5F28-4175-90AA-748C4242147B}" type="presParOf" srcId="{7D866A17-B519-4720-B731-2F2CAAE8A753}" destId="{81B5700F-3815-4B59-BA07-600308D1BB5E}" srcOrd="14"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EB9B1A1-0D31-4E2E-AB20-BBC60539E84C}" type="doc">
      <dgm:prSet loTypeId="urn:microsoft.com/office/officeart/2005/8/layout/list1" loCatId="list" qsTypeId="urn:microsoft.com/office/officeart/2005/8/quickstyle/simple1" qsCatId="simple" csTypeId="urn:microsoft.com/office/officeart/2005/8/colors/colorful5" csCatId="colorful" phldr="1"/>
      <dgm:spPr/>
      <dgm:t>
        <a:bodyPr/>
        <a:lstStyle/>
        <a:p>
          <a:endParaRPr lang="en-US"/>
        </a:p>
      </dgm:t>
    </dgm:pt>
    <dgm:pt modelId="{921E94B1-24D6-4F32-8695-475DB47DBFE0}">
      <dgm:prSet/>
      <dgm:spPr/>
      <dgm:t>
        <a:bodyPr/>
        <a:lstStyle/>
        <a:p>
          <a:pPr rtl="0"/>
          <a:r>
            <a:rPr lang="en-US" dirty="0" smtClean="0"/>
            <a:t> </a:t>
          </a:r>
          <a:r>
            <a:rPr lang="en-US" dirty="0" err="1" smtClean="0"/>
            <a:t>Sharding</a:t>
          </a:r>
          <a:endParaRPr lang="en-US" dirty="0"/>
        </a:p>
      </dgm:t>
    </dgm:pt>
    <dgm:pt modelId="{98AB07B5-7A9C-4515-BCEC-30687D8E0D34}" type="parTrans" cxnId="{ADCFDC32-B3EC-470C-9FBE-CAF675ACD06E}">
      <dgm:prSet/>
      <dgm:spPr/>
      <dgm:t>
        <a:bodyPr/>
        <a:lstStyle/>
        <a:p>
          <a:endParaRPr lang="en-US"/>
        </a:p>
      </dgm:t>
    </dgm:pt>
    <dgm:pt modelId="{74A961DE-E8E4-44A7-BBE9-D6C77CCE100A}" type="sibTrans" cxnId="{ADCFDC32-B3EC-470C-9FBE-CAF675ACD06E}">
      <dgm:prSet/>
      <dgm:spPr/>
      <dgm:t>
        <a:bodyPr/>
        <a:lstStyle/>
        <a:p>
          <a:endParaRPr lang="en-US"/>
        </a:p>
      </dgm:t>
    </dgm:pt>
    <dgm:pt modelId="{59DFD1AC-B55B-435C-81C6-CB158673C313}">
      <dgm:prSet/>
      <dgm:spPr/>
      <dgm:t>
        <a:bodyPr/>
        <a:lstStyle/>
        <a:p>
          <a:r>
            <a:rPr lang="en-US" dirty="0" smtClean="0"/>
            <a:t> Static Content Hosting</a:t>
          </a:r>
          <a:endParaRPr lang="en-US" dirty="0"/>
        </a:p>
      </dgm:t>
    </dgm:pt>
    <dgm:pt modelId="{089FCC58-B398-4F53-A5F8-B65933724CB0}" type="parTrans" cxnId="{FF31B088-5D91-4E7A-A411-31FC85AD23C6}">
      <dgm:prSet/>
      <dgm:spPr/>
      <dgm:t>
        <a:bodyPr/>
        <a:lstStyle/>
        <a:p>
          <a:endParaRPr lang="en-US"/>
        </a:p>
      </dgm:t>
    </dgm:pt>
    <dgm:pt modelId="{8A84534C-771B-413D-BEE2-6BD156CC5344}" type="sibTrans" cxnId="{FF31B088-5D91-4E7A-A411-31FC85AD23C6}">
      <dgm:prSet/>
      <dgm:spPr/>
      <dgm:t>
        <a:bodyPr/>
        <a:lstStyle/>
        <a:p>
          <a:endParaRPr lang="en-US"/>
        </a:p>
      </dgm:t>
    </dgm:pt>
    <dgm:pt modelId="{E81A095E-30CF-402C-8331-BC693AF4205D}">
      <dgm:prSet/>
      <dgm:spPr/>
      <dgm:t>
        <a:bodyPr/>
        <a:lstStyle/>
        <a:p>
          <a:r>
            <a:rPr lang="en-US" dirty="0" smtClean="0"/>
            <a:t> Throttling</a:t>
          </a:r>
          <a:endParaRPr lang="en-US" dirty="0"/>
        </a:p>
      </dgm:t>
    </dgm:pt>
    <dgm:pt modelId="{4786696F-2B9B-416B-8E04-D6D8BAA94438}" type="parTrans" cxnId="{B961AF1E-216C-4BB6-9EE5-7371E4FC1C1D}">
      <dgm:prSet/>
      <dgm:spPr/>
      <dgm:t>
        <a:bodyPr/>
        <a:lstStyle/>
        <a:p>
          <a:endParaRPr lang="en-US"/>
        </a:p>
      </dgm:t>
    </dgm:pt>
    <dgm:pt modelId="{6CCB7512-7B2D-4407-A223-5D1FD0E01C1B}" type="sibTrans" cxnId="{B961AF1E-216C-4BB6-9EE5-7371E4FC1C1D}">
      <dgm:prSet/>
      <dgm:spPr/>
      <dgm:t>
        <a:bodyPr/>
        <a:lstStyle/>
        <a:p>
          <a:endParaRPr lang="en-US"/>
        </a:p>
      </dgm:t>
    </dgm:pt>
    <dgm:pt modelId="{DAD1C729-3835-4292-B8AF-C734A9589CDA}">
      <dgm:prSet/>
      <dgm:spPr/>
      <dgm:t>
        <a:bodyPr/>
        <a:lstStyle/>
        <a:p>
          <a:r>
            <a:rPr lang="en-US" dirty="0" smtClean="0"/>
            <a:t> Valet Key</a:t>
          </a:r>
        </a:p>
      </dgm:t>
    </dgm:pt>
    <dgm:pt modelId="{EF3CED3E-04D3-46C9-85D4-132182F90696}" type="parTrans" cxnId="{0B2752E5-F341-4A18-8A59-C15C3D1729CB}">
      <dgm:prSet/>
      <dgm:spPr/>
      <dgm:t>
        <a:bodyPr/>
        <a:lstStyle/>
        <a:p>
          <a:endParaRPr lang="en-US"/>
        </a:p>
      </dgm:t>
    </dgm:pt>
    <dgm:pt modelId="{69A9897C-4D55-452C-944B-789BFE17C8B5}" type="sibTrans" cxnId="{0B2752E5-F341-4A18-8A59-C15C3D1729CB}">
      <dgm:prSet/>
      <dgm:spPr/>
      <dgm:t>
        <a:bodyPr/>
        <a:lstStyle/>
        <a:p>
          <a:endParaRPr lang="en-US"/>
        </a:p>
      </dgm:t>
    </dgm:pt>
    <dgm:pt modelId="{72CBC948-13AD-4A9B-B0BB-214E626CE7CA}">
      <dgm:prSet/>
      <dgm:spPr/>
      <dgm:t>
        <a:bodyPr/>
        <a:lstStyle/>
        <a:p>
          <a:endParaRPr lang="en-US" dirty="0"/>
        </a:p>
      </dgm:t>
    </dgm:pt>
    <dgm:pt modelId="{C711E341-BD34-4496-B915-1F637885CB5E}" type="parTrans" cxnId="{D8BCEECA-AC1E-424C-BCA9-965198787EF6}">
      <dgm:prSet/>
      <dgm:spPr/>
      <dgm:t>
        <a:bodyPr/>
        <a:lstStyle/>
        <a:p>
          <a:endParaRPr lang="en-US"/>
        </a:p>
      </dgm:t>
    </dgm:pt>
    <dgm:pt modelId="{1BBEDC4C-A41C-4524-BE02-70660E1BE469}" type="sibTrans" cxnId="{D8BCEECA-AC1E-424C-BCA9-965198787EF6}">
      <dgm:prSet/>
      <dgm:spPr/>
      <dgm:t>
        <a:bodyPr/>
        <a:lstStyle/>
        <a:p>
          <a:endParaRPr lang="en-US"/>
        </a:p>
      </dgm:t>
    </dgm:pt>
    <dgm:pt modelId="{D9162FA9-B278-470E-BB1E-DB5D4077F40F}">
      <dgm:prSet/>
      <dgm:spPr/>
      <dgm:t>
        <a:bodyPr/>
        <a:lstStyle/>
        <a:p>
          <a:endParaRPr lang="en-US" dirty="0"/>
        </a:p>
      </dgm:t>
    </dgm:pt>
    <dgm:pt modelId="{0D8D35AF-789E-4525-96B6-51DB55142098}" type="parTrans" cxnId="{6F766BB1-42CF-4749-A2D6-9FEA3ABDAB9B}">
      <dgm:prSet/>
      <dgm:spPr/>
      <dgm:t>
        <a:bodyPr/>
        <a:lstStyle/>
        <a:p>
          <a:endParaRPr lang="en-US"/>
        </a:p>
      </dgm:t>
    </dgm:pt>
    <dgm:pt modelId="{77ED8538-D0C1-4A58-9CBD-E34BAE302DF3}" type="sibTrans" cxnId="{6F766BB1-42CF-4749-A2D6-9FEA3ABDAB9B}">
      <dgm:prSet/>
      <dgm:spPr/>
      <dgm:t>
        <a:bodyPr/>
        <a:lstStyle/>
        <a:p>
          <a:endParaRPr lang="en-US"/>
        </a:p>
      </dgm:t>
    </dgm:pt>
    <dgm:pt modelId="{2FE5DF42-1ED1-4710-89C2-427C64A13144}">
      <dgm:prSet/>
      <dgm:spPr/>
      <dgm:t>
        <a:bodyPr/>
        <a:lstStyle/>
        <a:p>
          <a:endParaRPr lang="en-US" dirty="0"/>
        </a:p>
      </dgm:t>
    </dgm:pt>
    <dgm:pt modelId="{912DB2FD-972A-4916-9703-E1289578FEAA}" type="parTrans" cxnId="{824741AA-8C0E-438C-B7B6-A3D2F3106144}">
      <dgm:prSet/>
      <dgm:spPr/>
      <dgm:t>
        <a:bodyPr/>
        <a:lstStyle/>
        <a:p>
          <a:endParaRPr lang="en-US"/>
        </a:p>
      </dgm:t>
    </dgm:pt>
    <dgm:pt modelId="{1A85EBA5-F5A2-4D84-8E05-2B1BECB661FC}" type="sibTrans" cxnId="{824741AA-8C0E-438C-B7B6-A3D2F3106144}">
      <dgm:prSet/>
      <dgm:spPr/>
      <dgm:t>
        <a:bodyPr/>
        <a:lstStyle/>
        <a:p>
          <a:endParaRPr lang="en-US"/>
        </a:p>
      </dgm:t>
    </dgm:pt>
    <dgm:pt modelId="{C91998ED-BB0C-4781-9440-9EE0778DE2D4}">
      <dgm:prSet/>
      <dgm:spPr/>
      <dgm:t>
        <a:bodyPr/>
        <a:lstStyle/>
        <a:p>
          <a:endParaRPr lang="en-US" dirty="0"/>
        </a:p>
      </dgm:t>
    </dgm:pt>
    <dgm:pt modelId="{843F7AB5-D3E7-4AE0-9C1E-01CC18C51A99}" type="sibTrans" cxnId="{D95F247E-3A76-4E25-BEEE-3E6552DD0142}">
      <dgm:prSet/>
      <dgm:spPr/>
      <dgm:t>
        <a:bodyPr/>
        <a:lstStyle/>
        <a:p>
          <a:endParaRPr lang="en-US"/>
        </a:p>
      </dgm:t>
    </dgm:pt>
    <dgm:pt modelId="{D0189AF6-71A6-44F8-91BC-425109888FF3}" type="parTrans" cxnId="{D95F247E-3A76-4E25-BEEE-3E6552DD0142}">
      <dgm:prSet/>
      <dgm:spPr/>
      <dgm:t>
        <a:bodyPr/>
        <a:lstStyle/>
        <a:p>
          <a:endParaRPr lang="en-US"/>
        </a:p>
      </dgm:t>
    </dgm:pt>
    <dgm:pt modelId="{FBA9C602-6C73-43DE-A9B1-F80898D0A8B1}">
      <dgm:prSet/>
      <dgm:spPr/>
      <dgm:t>
        <a:bodyPr/>
        <a:lstStyle/>
        <a:p>
          <a:r>
            <a:rPr lang="en-US" dirty="0"/>
            <a:t>Divide a data store into a set of horizontal partitions shards. This pattern can </a:t>
          </a:r>
          <a:r>
            <a:rPr lang="en-US" dirty="0" smtClean="0"/>
            <a:t>improve scalability when storing and accessing large volumes of data.</a:t>
          </a:r>
          <a:endParaRPr lang="en-US" dirty="0"/>
        </a:p>
      </dgm:t>
    </dgm:pt>
    <dgm:pt modelId="{C26BD065-F351-45D7-AC6D-C4B2769776B9}" type="parTrans" cxnId="{D73444C1-25FD-4A1E-82A8-3A9C65514329}">
      <dgm:prSet/>
      <dgm:spPr/>
      <dgm:t>
        <a:bodyPr/>
        <a:lstStyle/>
        <a:p>
          <a:endParaRPr lang="en-US"/>
        </a:p>
      </dgm:t>
    </dgm:pt>
    <dgm:pt modelId="{9D28008F-7640-40CF-BFB1-E42E03E2C8D2}" type="sibTrans" cxnId="{D73444C1-25FD-4A1E-82A8-3A9C65514329}">
      <dgm:prSet/>
      <dgm:spPr/>
      <dgm:t>
        <a:bodyPr/>
        <a:lstStyle/>
        <a:p>
          <a:endParaRPr lang="en-US"/>
        </a:p>
      </dgm:t>
    </dgm:pt>
    <dgm:pt modelId="{3C961978-8433-4DC0-B506-BEFF8B7AD67D}">
      <dgm:prSet/>
      <dgm:spPr/>
      <dgm:t>
        <a:bodyPr/>
        <a:lstStyle/>
        <a:p>
          <a:r>
            <a:rPr lang="en-US" dirty="0"/>
            <a:t>Deploy static content to a cloud-based storage service that can deliver these directly to </a:t>
          </a:r>
          <a:r>
            <a:rPr lang="en-US" dirty="0" smtClean="0"/>
            <a:t>the client. This pattern can reduce the requirement for potentially expensive compute instances.</a:t>
          </a:r>
          <a:endParaRPr lang="en-US" dirty="0"/>
        </a:p>
      </dgm:t>
    </dgm:pt>
    <dgm:pt modelId="{B48FB0E6-34A8-4CEC-AF12-39DAD5507514}" type="parTrans" cxnId="{A6ECFF4B-1E21-46C5-A8E7-94A5786E5BC5}">
      <dgm:prSet/>
      <dgm:spPr/>
      <dgm:t>
        <a:bodyPr/>
        <a:lstStyle/>
        <a:p>
          <a:endParaRPr lang="en-US"/>
        </a:p>
      </dgm:t>
    </dgm:pt>
    <dgm:pt modelId="{C07EBD49-C46C-46C9-924A-DECF1BDB991B}" type="sibTrans" cxnId="{A6ECFF4B-1E21-46C5-A8E7-94A5786E5BC5}">
      <dgm:prSet/>
      <dgm:spPr/>
      <dgm:t>
        <a:bodyPr/>
        <a:lstStyle/>
        <a:p>
          <a:endParaRPr lang="en-US"/>
        </a:p>
      </dgm:t>
    </dgm:pt>
    <dgm:pt modelId="{5E0FBDB7-C7DE-4114-B057-C925E51E7599}">
      <dgm:prSet/>
      <dgm:spPr/>
      <dgm:t>
        <a:bodyPr/>
        <a:lstStyle/>
        <a:p>
          <a:r>
            <a:rPr lang="en-US" dirty="0"/>
            <a:t>Control the consumption of resources used by an instance of an application, an </a:t>
          </a:r>
          <a:r>
            <a:rPr lang="en-US" dirty="0" smtClean="0"/>
            <a:t>individual tenant, or an entire service. This pattern can allow the system to continue to function and meet service level agreements, even when an increase in demand places an extreme load on resources.</a:t>
          </a:r>
          <a:endParaRPr lang="en-US" dirty="0"/>
        </a:p>
      </dgm:t>
    </dgm:pt>
    <dgm:pt modelId="{6C3785A3-0BC4-48AC-805B-06233A3C1748}" type="parTrans" cxnId="{E5050D79-D507-45BC-A673-7812E6168969}">
      <dgm:prSet/>
      <dgm:spPr/>
      <dgm:t>
        <a:bodyPr/>
        <a:lstStyle/>
        <a:p>
          <a:endParaRPr lang="en-US"/>
        </a:p>
      </dgm:t>
    </dgm:pt>
    <dgm:pt modelId="{10C08DBB-8D84-4665-8641-247273F94160}" type="sibTrans" cxnId="{E5050D79-D507-45BC-A673-7812E6168969}">
      <dgm:prSet/>
      <dgm:spPr/>
      <dgm:t>
        <a:bodyPr/>
        <a:lstStyle/>
        <a:p>
          <a:endParaRPr lang="en-US"/>
        </a:p>
      </dgm:t>
    </dgm:pt>
    <dgm:pt modelId="{0C360DF4-CD26-4680-886D-56AD5FEA9644}">
      <dgm:prSet/>
      <dgm:spPr/>
      <dgm:t>
        <a:bodyPr/>
        <a:lstStyle/>
        <a:p>
          <a:r>
            <a:rPr lang="en-US" dirty="0"/>
            <a:t>Use a token or key that provides clients with restricted direct access to a specific resource </a:t>
          </a:r>
          <a:r>
            <a:rPr lang="en-US" dirty="0" smtClean="0"/>
            <a:t>or service in order to offload data transfer operations from the application code. This pattern is particularly useful in applications that use cloud-hosted storage systems or queues, and can minimize cost and maximize scalability and performance</a:t>
          </a:r>
          <a:endParaRPr lang="en-US" dirty="0"/>
        </a:p>
      </dgm:t>
    </dgm:pt>
    <dgm:pt modelId="{443F77AB-B0F2-4447-9729-AC42EC56E287}" type="parTrans" cxnId="{2EB351AC-41CA-4BA0-9C18-E5058625BCC5}">
      <dgm:prSet/>
      <dgm:spPr/>
      <dgm:t>
        <a:bodyPr/>
        <a:lstStyle/>
        <a:p>
          <a:endParaRPr lang="en-US"/>
        </a:p>
      </dgm:t>
    </dgm:pt>
    <dgm:pt modelId="{BB252B2E-F4A8-418A-907D-B5C8BC7047FB}" type="sibTrans" cxnId="{2EB351AC-41CA-4BA0-9C18-E5058625BCC5}">
      <dgm:prSet/>
      <dgm:spPr/>
      <dgm:t>
        <a:bodyPr/>
        <a:lstStyle/>
        <a:p>
          <a:endParaRPr lang="en-US"/>
        </a:p>
      </dgm:t>
    </dgm:pt>
    <dgm:pt modelId="{E7CBD7C2-0FDD-4BDC-9D44-547343277B4A}" type="pres">
      <dgm:prSet presAssocID="{8EB9B1A1-0D31-4E2E-AB20-BBC60539E84C}" presName="linear" presStyleCnt="0">
        <dgm:presLayoutVars>
          <dgm:dir/>
          <dgm:animLvl val="lvl"/>
          <dgm:resizeHandles val="exact"/>
        </dgm:presLayoutVars>
      </dgm:prSet>
      <dgm:spPr/>
      <dgm:t>
        <a:bodyPr/>
        <a:lstStyle/>
        <a:p>
          <a:endParaRPr lang="en-US"/>
        </a:p>
      </dgm:t>
    </dgm:pt>
    <dgm:pt modelId="{7E80383C-56A7-40A8-B571-B2743D05FD64}" type="pres">
      <dgm:prSet presAssocID="{921E94B1-24D6-4F32-8695-475DB47DBFE0}" presName="parentLin" presStyleCnt="0"/>
      <dgm:spPr/>
    </dgm:pt>
    <dgm:pt modelId="{B95BCA48-90B8-4E37-8576-3BC4352973DF}" type="pres">
      <dgm:prSet presAssocID="{921E94B1-24D6-4F32-8695-475DB47DBFE0}" presName="parentLeftMargin" presStyleLbl="node1" presStyleIdx="0" presStyleCnt="4"/>
      <dgm:spPr/>
      <dgm:t>
        <a:bodyPr/>
        <a:lstStyle/>
        <a:p>
          <a:endParaRPr lang="en-US"/>
        </a:p>
      </dgm:t>
    </dgm:pt>
    <dgm:pt modelId="{F27CCBCE-0A77-416A-86B3-7D45B7292D56}" type="pres">
      <dgm:prSet presAssocID="{921E94B1-24D6-4F32-8695-475DB47DBFE0}" presName="parentText" presStyleLbl="node1" presStyleIdx="0" presStyleCnt="4">
        <dgm:presLayoutVars>
          <dgm:chMax val="0"/>
          <dgm:bulletEnabled val="1"/>
        </dgm:presLayoutVars>
      </dgm:prSet>
      <dgm:spPr/>
      <dgm:t>
        <a:bodyPr/>
        <a:lstStyle/>
        <a:p>
          <a:endParaRPr lang="en-US"/>
        </a:p>
      </dgm:t>
    </dgm:pt>
    <dgm:pt modelId="{287081D2-F2E1-4050-8C25-BD2B9EA06972}" type="pres">
      <dgm:prSet presAssocID="{921E94B1-24D6-4F32-8695-475DB47DBFE0}" presName="negativeSpace" presStyleCnt="0"/>
      <dgm:spPr/>
    </dgm:pt>
    <dgm:pt modelId="{6FD0FB3E-67A7-41F2-B15D-28E891DA3E33}" type="pres">
      <dgm:prSet presAssocID="{921E94B1-24D6-4F32-8695-475DB47DBFE0}" presName="childText" presStyleLbl="conFgAcc1" presStyleIdx="0" presStyleCnt="4">
        <dgm:presLayoutVars>
          <dgm:bulletEnabled val="1"/>
        </dgm:presLayoutVars>
      </dgm:prSet>
      <dgm:spPr/>
      <dgm:t>
        <a:bodyPr/>
        <a:lstStyle/>
        <a:p>
          <a:endParaRPr lang="en-US"/>
        </a:p>
      </dgm:t>
    </dgm:pt>
    <dgm:pt modelId="{C977B00C-4001-4AB3-878F-A0A1F96611BE}" type="pres">
      <dgm:prSet presAssocID="{74A961DE-E8E4-44A7-BBE9-D6C77CCE100A}" presName="spaceBetweenRectangles" presStyleCnt="0"/>
      <dgm:spPr/>
    </dgm:pt>
    <dgm:pt modelId="{5934ECA0-42B5-44D2-BC79-688C322E3FD7}" type="pres">
      <dgm:prSet presAssocID="{59DFD1AC-B55B-435C-81C6-CB158673C313}" presName="parentLin" presStyleCnt="0"/>
      <dgm:spPr/>
    </dgm:pt>
    <dgm:pt modelId="{21BF176F-1BE5-412D-AFC6-1A21B57D866C}" type="pres">
      <dgm:prSet presAssocID="{59DFD1AC-B55B-435C-81C6-CB158673C313}" presName="parentLeftMargin" presStyleLbl="node1" presStyleIdx="0" presStyleCnt="4"/>
      <dgm:spPr/>
      <dgm:t>
        <a:bodyPr/>
        <a:lstStyle/>
        <a:p>
          <a:endParaRPr lang="en-US"/>
        </a:p>
      </dgm:t>
    </dgm:pt>
    <dgm:pt modelId="{24B9AD72-E758-47DC-8944-4AFDC45CD6E0}" type="pres">
      <dgm:prSet presAssocID="{59DFD1AC-B55B-435C-81C6-CB158673C313}" presName="parentText" presStyleLbl="node1" presStyleIdx="1" presStyleCnt="4">
        <dgm:presLayoutVars>
          <dgm:chMax val="0"/>
          <dgm:bulletEnabled val="1"/>
        </dgm:presLayoutVars>
      </dgm:prSet>
      <dgm:spPr/>
      <dgm:t>
        <a:bodyPr/>
        <a:lstStyle/>
        <a:p>
          <a:endParaRPr lang="en-US"/>
        </a:p>
      </dgm:t>
    </dgm:pt>
    <dgm:pt modelId="{FD40EDA5-6734-4EDC-9657-B1B5DF1510DA}" type="pres">
      <dgm:prSet presAssocID="{59DFD1AC-B55B-435C-81C6-CB158673C313}" presName="negativeSpace" presStyleCnt="0"/>
      <dgm:spPr/>
    </dgm:pt>
    <dgm:pt modelId="{56889E27-1661-4146-ABD1-11356DD08B1A}" type="pres">
      <dgm:prSet presAssocID="{59DFD1AC-B55B-435C-81C6-CB158673C313}" presName="childText" presStyleLbl="conFgAcc1" presStyleIdx="1" presStyleCnt="4">
        <dgm:presLayoutVars>
          <dgm:bulletEnabled val="1"/>
        </dgm:presLayoutVars>
      </dgm:prSet>
      <dgm:spPr/>
      <dgm:t>
        <a:bodyPr/>
        <a:lstStyle/>
        <a:p>
          <a:endParaRPr lang="en-US"/>
        </a:p>
      </dgm:t>
    </dgm:pt>
    <dgm:pt modelId="{C6C5FFEB-F635-4F41-BB9D-E7129AEBD5FC}" type="pres">
      <dgm:prSet presAssocID="{8A84534C-771B-413D-BEE2-6BD156CC5344}" presName="spaceBetweenRectangles" presStyleCnt="0"/>
      <dgm:spPr/>
    </dgm:pt>
    <dgm:pt modelId="{A087ED8C-2EB9-4A10-B023-7D3A4744C76F}" type="pres">
      <dgm:prSet presAssocID="{E81A095E-30CF-402C-8331-BC693AF4205D}" presName="parentLin" presStyleCnt="0"/>
      <dgm:spPr/>
    </dgm:pt>
    <dgm:pt modelId="{CD3B87B6-A578-4328-B590-50AADE7EDB30}" type="pres">
      <dgm:prSet presAssocID="{E81A095E-30CF-402C-8331-BC693AF4205D}" presName="parentLeftMargin" presStyleLbl="node1" presStyleIdx="1" presStyleCnt="4"/>
      <dgm:spPr/>
      <dgm:t>
        <a:bodyPr/>
        <a:lstStyle/>
        <a:p>
          <a:endParaRPr lang="en-US"/>
        </a:p>
      </dgm:t>
    </dgm:pt>
    <dgm:pt modelId="{3C428A22-1A69-4860-AB30-3D359F2329D0}" type="pres">
      <dgm:prSet presAssocID="{E81A095E-30CF-402C-8331-BC693AF4205D}" presName="parentText" presStyleLbl="node1" presStyleIdx="2" presStyleCnt="4">
        <dgm:presLayoutVars>
          <dgm:chMax val="0"/>
          <dgm:bulletEnabled val="1"/>
        </dgm:presLayoutVars>
      </dgm:prSet>
      <dgm:spPr/>
      <dgm:t>
        <a:bodyPr/>
        <a:lstStyle/>
        <a:p>
          <a:endParaRPr lang="en-US"/>
        </a:p>
      </dgm:t>
    </dgm:pt>
    <dgm:pt modelId="{9F987249-0A01-4B43-BF3F-4A1FD566A2D6}" type="pres">
      <dgm:prSet presAssocID="{E81A095E-30CF-402C-8331-BC693AF4205D}" presName="negativeSpace" presStyleCnt="0"/>
      <dgm:spPr/>
    </dgm:pt>
    <dgm:pt modelId="{E61E391F-0C34-44C1-8C02-D31CFDFC25BC}" type="pres">
      <dgm:prSet presAssocID="{E81A095E-30CF-402C-8331-BC693AF4205D}" presName="childText" presStyleLbl="conFgAcc1" presStyleIdx="2" presStyleCnt="4">
        <dgm:presLayoutVars>
          <dgm:bulletEnabled val="1"/>
        </dgm:presLayoutVars>
      </dgm:prSet>
      <dgm:spPr/>
      <dgm:t>
        <a:bodyPr/>
        <a:lstStyle/>
        <a:p>
          <a:endParaRPr lang="en-US"/>
        </a:p>
      </dgm:t>
    </dgm:pt>
    <dgm:pt modelId="{17065DC8-5EE2-422A-AF76-CB8C737F94F6}" type="pres">
      <dgm:prSet presAssocID="{6CCB7512-7B2D-4407-A223-5D1FD0E01C1B}" presName="spaceBetweenRectangles" presStyleCnt="0"/>
      <dgm:spPr/>
    </dgm:pt>
    <dgm:pt modelId="{191DD1C4-BC46-43BE-ABFA-7EA4FD8290DC}" type="pres">
      <dgm:prSet presAssocID="{DAD1C729-3835-4292-B8AF-C734A9589CDA}" presName="parentLin" presStyleCnt="0"/>
      <dgm:spPr/>
    </dgm:pt>
    <dgm:pt modelId="{50DA1047-E983-4681-A168-632B32F38BAE}" type="pres">
      <dgm:prSet presAssocID="{DAD1C729-3835-4292-B8AF-C734A9589CDA}" presName="parentLeftMargin" presStyleLbl="node1" presStyleIdx="2" presStyleCnt="4"/>
      <dgm:spPr/>
      <dgm:t>
        <a:bodyPr/>
        <a:lstStyle/>
        <a:p>
          <a:endParaRPr lang="en-US"/>
        </a:p>
      </dgm:t>
    </dgm:pt>
    <dgm:pt modelId="{BE36EFEF-53A1-4EBC-8AD9-47297165D038}" type="pres">
      <dgm:prSet presAssocID="{DAD1C729-3835-4292-B8AF-C734A9589CDA}" presName="parentText" presStyleLbl="node1" presStyleIdx="3" presStyleCnt="4">
        <dgm:presLayoutVars>
          <dgm:chMax val="0"/>
          <dgm:bulletEnabled val="1"/>
        </dgm:presLayoutVars>
      </dgm:prSet>
      <dgm:spPr/>
      <dgm:t>
        <a:bodyPr/>
        <a:lstStyle/>
        <a:p>
          <a:endParaRPr lang="en-US"/>
        </a:p>
      </dgm:t>
    </dgm:pt>
    <dgm:pt modelId="{82B5712F-4E5E-43AC-9A88-7056FB0407E3}" type="pres">
      <dgm:prSet presAssocID="{DAD1C729-3835-4292-B8AF-C734A9589CDA}" presName="negativeSpace" presStyleCnt="0"/>
      <dgm:spPr/>
    </dgm:pt>
    <dgm:pt modelId="{15140B8F-ED11-45D6-AE99-23EDE0007CDB}" type="pres">
      <dgm:prSet presAssocID="{DAD1C729-3835-4292-B8AF-C734A9589CDA}" presName="childText" presStyleLbl="conFgAcc1" presStyleIdx="3" presStyleCnt="4">
        <dgm:presLayoutVars>
          <dgm:bulletEnabled val="1"/>
        </dgm:presLayoutVars>
      </dgm:prSet>
      <dgm:spPr/>
      <dgm:t>
        <a:bodyPr/>
        <a:lstStyle/>
        <a:p>
          <a:endParaRPr lang="en-US"/>
        </a:p>
      </dgm:t>
    </dgm:pt>
  </dgm:ptLst>
  <dgm:cxnLst>
    <dgm:cxn modelId="{FF924C7F-4230-4740-933B-EABF5E78BEA0}" type="presOf" srcId="{5E0FBDB7-C7DE-4114-B057-C925E51E7599}" destId="{E61E391F-0C34-44C1-8C02-D31CFDFC25BC}" srcOrd="0" destOrd="1" presId="urn:microsoft.com/office/officeart/2005/8/layout/list1"/>
    <dgm:cxn modelId="{A54EAB16-D731-4BB4-8ADD-8A0BEF26F2E0}" type="presOf" srcId="{921E94B1-24D6-4F32-8695-475DB47DBFE0}" destId="{B95BCA48-90B8-4E37-8576-3BC4352973DF}" srcOrd="0" destOrd="0" presId="urn:microsoft.com/office/officeart/2005/8/layout/list1"/>
    <dgm:cxn modelId="{6F766BB1-42CF-4749-A2D6-9FEA3ABDAB9B}" srcId="{E81A095E-30CF-402C-8331-BC693AF4205D}" destId="{D9162FA9-B278-470E-BB1E-DB5D4077F40F}" srcOrd="0" destOrd="0" parTransId="{0D8D35AF-789E-4525-96B6-51DB55142098}" sibTransId="{77ED8538-D0C1-4A58-9CBD-E34BAE302DF3}"/>
    <dgm:cxn modelId="{D95F247E-3A76-4E25-BEEE-3E6552DD0142}" srcId="{921E94B1-24D6-4F32-8695-475DB47DBFE0}" destId="{C91998ED-BB0C-4781-9440-9EE0778DE2D4}" srcOrd="0" destOrd="0" parTransId="{D0189AF6-71A6-44F8-91BC-425109888FF3}" sibTransId="{843F7AB5-D3E7-4AE0-9C1E-01CC18C51A99}"/>
    <dgm:cxn modelId="{B8250F3F-EDA5-409E-B2D1-F7F6AEF322F7}" type="presOf" srcId="{3C961978-8433-4DC0-B506-BEFF8B7AD67D}" destId="{56889E27-1661-4146-ABD1-11356DD08B1A}" srcOrd="0" destOrd="1" presId="urn:microsoft.com/office/officeart/2005/8/layout/list1"/>
    <dgm:cxn modelId="{A6ECFF4B-1E21-46C5-A8E7-94A5786E5BC5}" srcId="{59DFD1AC-B55B-435C-81C6-CB158673C313}" destId="{3C961978-8433-4DC0-B506-BEFF8B7AD67D}" srcOrd="1" destOrd="0" parTransId="{B48FB0E6-34A8-4CEC-AF12-39DAD5507514}" sibTransId="{C07EBD49-C46C-46C9-924A-DECF1BDB991B}"/>
    <dgm:cxn modelId="{B961AF1E-216C-4BB6-9EE5-7371E4FC1C1D}" srcId="{8EB9B1A1-0D31-4E2E-AB20-BBC60539E84C}" destId="{E81A095E-30CF-402C-8331-BC693AF4205D}" srcOrd="2" destOrd="0" parTransId="{4786696F-2B9B-416B-8E04-D6D8BAA94438}" sibTransId="{6CCB7512-7B2D-4407-A223-5D1FD0E01C1B}"/>
    <dgm:cxn modelId="{E5050D79-D507-45BC-A673-7812E6168969}" srcId="{E81A095E-30CF-402C-8331-BC693AF4205D}" destId="{5E0FBDB7-C7DE-4114-B057-C925E51E7599}" srcOrd="1" destOrd="0" parTransId="{6C3785A3-0BC4-48AC-805B-06233A3C1748}" sibTransId="{10C08DBB-8D84-4665-8641-247273F94160}"/>
    <dgm:cxn modelId="{A3C15071-D116-4488-AD07-5826B459D361}" type="presOf" srcId="{8EB9B1A1-0D31-4E2E-AB20-BBC60539E84C}" destId="{E7CBD7C2-0FDD-4BDC-9D44-547343277B4A}" srcOrd="0" destOrd="0" presId="urn:microsoft.com/office/officeart/2005/8/layout/list1"/>
    <dgm:cxn modelId="{2EB351AC-41CA-4BA0-9C18-E5058625BCC5}" srcId="{DAD1C729-3835-4292-B8AF-C734A9589CDA}" destId="{0C360DF4-CD26-4680-886D-56AD5FEA9644}" srcOrd="1" destOrd="0" parTransId="{443F77AB-B0F2-4447-9729-AC42EC56E287}" sibTransId="{BB252B2E-F4A8-418A-907D-B5C8BC7047FB}"/>
    <dgm:cxn modelId="{7CC88527-8F8F-4658-A39D-4C0CE60F64FA}" type="presOf" srcId="{D9162FA9-B278-470E-BB1E-DB5D4077F40F}" destId="{E61E391F-0C34-44C1-8C02-D31CFDFC25BC}" srcOrd="0" destOrd="0" presId="urn:microsoft.com/office/officeart/2005/8/layout/list1"/>
    <dgm:cxn modelId="{DD108F4A-7E21-4F4E-B5BD-3CABE02DD4DA}" type="presOf" srcId="{DAD1C729-3835-4292-B8AF-C734A9589CDA}" destId="{50DA1047-E983-4681-A168-632B32F38BAE}" srcOrd="0" destOrd="0" presId="urn:microsoft.com/office/officeart/2005/8/layout/list1"/>
    <dgm:cxn modelId="{BE290F5C-CDA4-4198-9C27-8496120F9892}" type="presOf" srcId="{0C360DF4-CD26-4680-886D-56AD5FEA9644}" destId="{15140B8F-ED11-45D6-AE99-23EDE0007CDB}" srcOrd="0" destOrd="1" presId="urn:microsoft.com/office/officeart/2005/8/layout/list1"/>
    <dgm:cxn modelId="{53A0CA6F-6943-475F-AFB0-8D0B611CC5E3}" type="presOf" srcId="{C91998ED-BB0C-4781-9440-9EE0778DE2D4}" destId="{6FD0FB3E-67A7-41F2-B15D-28E891DA3E33}" srcOrd="0" destOrd="0" presId="urn:microsoft.com/office/officeart/2005/8/layout/list1"/>
    <dgm:cxn modelId="{824741AA-8C0E-438C-B7B6-A3D2F3106144}" srcId="{DAD1C729-3835-4292-B8AF-C734A9589CDA}" destId="{2FE5DF42-1ED1-4710-89C2-427C64A13144}" srcOrd="0" destOrd="0" parTransId="{912DB2FD-972A-4916-9703-E1289578FEAA}" sibTransId="{1A85EBA5-F5A2-4D84-8E05-2B1BECB661FC}"/>
    <dgm:cxn modelId="{D73444C1-25FD-4A1E-82A8-3A9C65514329}" srcId="{921E94B1-24D6-4F32-8695-475DB47DBFE0}" destId="{FBA9C602-6C73-43DE-A9B1-F80898D0A8B1}" srcOrd="1" destOrd="0" parTransId="{C26BD065-F351-45D7-AC6D-C4B2769776B9}" sibTransId="{9D28008F-7640-40CF-BFB1-E42E03E2C8D2}"/>
    <dgm:cxn modelId="{5A5F4CBC-DC91-42A1-813B-BF28993EE5FF}" type="presOf" srcId="{59DFD1AC-B55B-435C-81C6-CB158673C313}" destId="{21BF176F-1BE5-412D-AFC6-1A21B57D866C}" srcOrd="0" destOrd="0" presId="urn:microsoft.com/office/officeart/2005/8/layout/list1"/>
    <dgm:cxn modelId="{FF31B088-5D91-4E7A-A411-31FC85AD23C6}" srcId="{8EB9B1A1-0D31-4E2E-AB20-BBC60539E84C}" destId="{59DFD1AC-B55B-435C-81C6-CB158673C313}" srcOrd="1" destOrd="0" parTransId="{089FCC58-B398-4F53-A5F8-B65933724CB0}" sibTransId="{8A84534C-771B-413D-BEE2-6BD156CC5344}"/>
    <dgm:cxn modelId="{ADCFDC32-B3EC-470C-9FBE-CAF675ACD06E}" srcId="{8EB9B1A1-0D31-4E2E-AB20-BBC60539E84C}" destId="{921E94B1-24D6-4F32-8695-475DB47DBFE0}" srcOrd="0" destOrd="0" parTransId="{98AB07B5-7A9C-4515-BCEC-30687D8E0D34}" sibTransId="{74A961DE-E8E4-44A7-BBE9-D6C77CCE100A}"/>
    <dgm:cxn modelId="{E933ACF7-ADBF-48AF-99CD-DFCFF6EE1A2B}" type="presOf" srcId="{E81A095E-30CF-402C-8331-BC693AF4205D}" destId="{CD3B87B6-A578-4328-B590-50AADE7EDB30}" srcOrd="0" destOrd="0" presId="urn:microsoft.com/office/officeart/2005/8/layout/list1"/>
    <dgm:cxn modelId="{CF6D3AF0-FF73-467F-B409-55F6F9FE0FC7}" type="presOf" srcId="{59DFD1AC-B55B-435C-81C6-CB158673C313}" destId="{24B9AD72-E758-47DC-8944-4AFDC45CD6E0}" srcOrd="1" destOrd="0" presId="urn:microsoft.com/office/officeart/2005/8/layout/list1"/>
    <dgm:cxn modelId="{0B2752E5-F341-4A18-8A59-C15C3D1729CB}" srcId="{8EB9B1A1-0D31-4E2E-AB20-BBC60539E84C}" destId="{DAD1C729-3835-4292-B8AF-C734A9589CDA}" srcOrd="3" destOrd="0" parTransId="{EF3CED3E-04D3-46C9-85D4-132182F90696}" sibTransId="{69A9897C-4D55-452C-944B-789BFE17C8B5}"/>
    <dgm:cxn modelId="{D8BCEECA-AC1E-424C-BCA9-965198787EF6}" srcId="{59DFD1AC-B55B-435C-81C6-CB158673C313}" destId="{72CBC948-13AD-4A9B-B0BB-214E626CE7CA}" srcOrd="0" destOrd="0" parTransId="{C711E341-BD34-4496-B915-1F637885CB5E}" sibTransId="{1BBEDC4C-A41C-4524-BE02-70660E1BE469}"/>
    <dgm:cxn modelId="{3EACD568-E62E-4DE6-BAB0-47AD1D9CC40C}" type="presOf" srcId="{921E94B1-24D6-4F32-8695-475DB47DBFE0}" destId="{F27CCBCE-0A77-416A-86B3-7D45B7292D56}" srcOrd="1" destOrd="0" presId="urn:microsoft.com/office/officeart/2005/8/layout/list1"/>
    <dgm:cxn modelId="{75C277E3-BFF2-4531-986D-412F68212183}" type="presOf" srcId="{DAD1C729-3835-4292-B8AF-C734A9589CDA}" destId="{BE36EFEF-53A1-4EBC-8AD9-47297165D038}" srcOrd="1" destOrd="0" presId="urn:microsoft.com/office/officeart/2005/8/layout/list1"/>
    <dgm:cxn modelId="{74EAB80E-BFDC-42CC-AC47-32B5F67C9F5E}" type="presOf" srcId="{FBA9C602-6C73-43DE-A9B1-F80898D0A8B1}" destId="{6FD0FB3E-67A7-41F2-B15D-28E891DA3E33}" srcOrd="0" destOrd="1" presId="urn:microsoft.com/office/officeart/2005/8/layout/list1"/>
    <dgm:cxn modelId="{FA626ABF-020D-415F-AEC0-4E5DACAA4759}" type="presOf" srcId="{2FE5DF42-1ED1-4710-89C2-427C64A13144}" destId="{15140B8F-ED11-45D6-AE99-23EDE0007CDB}" srcOrd="0" destOrd="0" presId="urn:microsoft.com/office/officeart/2005/8/layout/list1"/>
    <dgm:cxn modelId="{88AA2ACD-7C84-417C-A032-A6CD1FBD12F7}" type="presOf" srcId="{E81A095E-30CF-402C-8331-BC693AF4205D}" destId="{3C428A22-1A69-4860-AB30-3D359F2329D0}" srcOrd="1" destOrd="0" presId="urn:microsoft.com/office/officeart/2005/8/layout/list1"/>
    <dgm:cxn modelId="{BF5D29FC-CCA8-4FD9-ABA4-E3714DDF02A1}" type="presOf" srcId="{72CBC948-13AD-4A9B-B0BB-214E626CE7CA}" destId="{56889E27-1661-4146-ABD1-11356DD08B1A}" srcOrd="0" destOrd="0" presId="urn:microsoft.com/office/officeart/2005/8/layout/list1"/>
    <dgm:cxn modelId="{E17E831B-3E33-4BFC-9F2E-2E6BEF1A72DE}" type="presParOf" srcId="{E7CBD7C2-0FDD-4BDC-9D44-547343277B4A}" destId="{7E80383C-56A7-40A8-B571-B2743D05FD64}" srcOrd="0" destOrd="0" presId="urn:microsoft.com/office/officeart/2005/8/layout/list1"/>
    <dgm:cxn modelId="{21223912-1CEC-4732-B01D-55A0FC03E52D}" type="presParOf" srcId="{7E80383C-56A7-40A8-B571-B2743D05FD64}" destId="{B95BCA48-90B8-4E37-8576-3BC4352973DF}" srcOrd="0" destOrd="0" presId="urn:microsoft.com/office/officeart/2005/8/layout/list1"/>
    <dgm:cxn modelId="{B1CBB037-8A17-4F32-8B26-90FF6DF03F0F}" type="presParOf" srcId="{7E80383C-56A7-40A8-B571-B2743D05FD64}" destId="{F27CCBCE-0A77-416A-86B3-7D45B7292D56}" srcOrd="1" destOrd="0" presId="urn:microsoft.com/office/officeart/2005/8/layout/list1"/>
    <dgm:cxn modelId="{41E58234-16E6-4C7F-9E2A-88AF34540E3D}" type="presParOf" srcId="{E7CBD7C2-0FDD-4BDC-9D44-547343277B4A}" destId="{287081D2-F2E1-4050-8C25-BD2B9EA06972}" srcOrd="1" destOrd="0" presId="urn:microsoft.com/office/officeart/2005/8/layout/list1"/>
    <dgm:cxn modelId="{56836397-4A95-4608-95F5-37DA8040AB5B}" type="presParOf" srcId="{E7CBD7C2-0FDD-4BDC-9D44-547343277B4A}" destId="{6FD0FB3E-67A7-41F2-B15D-28E891DA3E33}" srcOrd="2" destOrd="0" presId="urn:microsoft.com/office/officeart/2005/8/layout/list1"/>
    <dgm:cxn modelId="{BD3215F3-9694-401A-BA72-9E9A8706603D}" type="presParOf" srcId="{E7CBD7C2-0FDD-4BDC-9D44-547343277B4A}" destId="{C977B00C-4001-4AB3-878F-A0A1F96611BE}" srcOrd="3" destOrd="0" presId="urn:microsoft.com/office/officeart/2005/8/layout/list1"/>
    <dgm:cxn modelId="{5DD69F14-E9FD-484A-BFEE-29AF1AF6AF90}" type="presParOf" srcId="{E7CBD7C2-0FDD-4BDC-9D44-547343277B4A}" destId="{5934ECA0-42B5-44D2-BC79-688C322E3FD7}" srcOrd="4" destOrd="0" presId="urn:microsoft.com/office/officeart/2005/8/layout/list1"/>
    <dgm:cxn modelId="{838FD7DF-F0A4-457A-B388-67B7100C55A9}" type="presParOf" srcId="{5934ECA0-42B5-44D2-BC79-688C322E3FD7}" destId="{21BF176F-1BE5-412D-AFC6-1A21B57D866C}" srcOrd="0" destOrd="0" presId="urn:microsoft.com/office/officeart/2005/8/layout/list1"/>
    <dgm:cxn modelId="{807BF6DF-685F-4666-8891-AE8C615FF868}" type="presParOf" srcId="{5934ECA0-42B5-44D2-BC79-688C322E3FD7}" destId="{24B9AD72-E758-47DC-8944-4AFDC45CD6E0}" srcOrd="1" destOrd="0" presId="urn:microsoft.com/office/officeart/2005/8/layout/list1"/>
    <dgm:cxn modelId="{0C0EA646-652A-48FB-A519-0226DA80EDA0}" type="presParOf" srcId="{E7CBD7C2-0FDD-4BDC-9D44-547343277B4A}" destId="{FD40EDA5-6734-4EDC-9657-B1B5DF1510DA}" srcOrd="5" destOrd="0" presId="urn:microsoft.com/office/officeart/2005/8/layout/list1"/>
    <dgm:cxn modelId="{E806DB7E-0B71-40A1-8F2D-9A0A2C148410}" type="presParOf" srcId="{E7CBD7C2-0FDD-4BDC-9D44-547343277B4A}" destId="{56889E27-1661-4146-ABD1-11356DD08B1A}" srcOrd="6" destOrd="0" presId="urn:microsoft.com/office/officeart/2005/8/layout/list1"/>
    <dgm:cxn modelId="{99604279-BE29-415E-AFC4-9648759500F5}" type="presParOf" srcId="{E7CBD7C2-0FDD-4BDC-9D44-547343277B4A}" destId="{C6C5FFEB-F635-4F41-BB9D-E7129AEBD5FC}" srcOrd="7" destOrd="0" presId="urn:microsoft.com/office/officeart/2005/8/layout/list1"/>
    <dgm:cxn modelId="{0CDF1215-A80A-435E-822B-4653F86A9A77}" type="presParOf" srcId="{E7CBD7C2-0FDD-4BDC-9D44-547343277B4A}" destId="{A087ED8C-2EB9-4A10-B023-7D3A4744C76F}" srcOrd="8" destOrd="0" presId="urn:microsoft.com/office/officeart/2005/8/layout/list1"/>
    <dgm:cxn modelId="{7B0CE7D7-F8B0-407C-AEF7-652C0C9F93C9}" type="presParOf" srcId="{A087ED8C-2EB9-4A10-B023-7D3A4744C76F}" destId="{CD3B87B6-A578-4328-B590-50AADE7EDB30}" srcOrd="0" destOrd="0" presId="urn:microsoft.com/office/officeart/2005/8/layout/list1"/>
    <dgm:cxn modelId="{A0E62BF3-3674-40AD-8168-B3D90BD3B6A3}" type="presParOf" srcId="{A087ED8C-2EB9-4A10-B023-7D3A4744C76F}" destId="{3C428A22-1A69-4860-AB30-3D359F2329D0}" srcOrd="1" destOrd="0" presId="urn:microsoft.com/office/officeart/2005/8/layout/list1"/>
    <dgm:cxn modelId="{DB9DD6B8-858B-484F-97FF-BB963C4417C0}" type="presParOf" srcId="{E7CBD7C2-0FDD-4BDC-9D44-547343277B4A}" destId="{9F987249-0A01-4B43-BF3F-4A1FD566A2D6}" srcOrd="9" destOrd="0" presId="urn:microsoft.com/office/officeart/2005/8/layout/list1"/>
    <dgm:cxn modelId="{2D119155-2925-49B3-9800-1249F28E75D1}" type="presParOf" srcId="{E7CBD7C2-0FDD-4BDC-9D44-547343277B4A}" destId="{E61E391F-0C34-44C1-8C02-D31CFDFC25BC}" srcOrd="10" destOrd="0" presId="urn:microsoft.com/office/officeart/2005/8/layout/list1"/>
    <dgm:cxn modelId="{6244D9AD-910A-43C4-87A8-1F5B79BF8BD9}" type="presParOf" srcId="{E7CBD7C2-0FDD-4BDC-9D44-547343277B4A}" destId="{17065DC8-5EE2-422A-AF76-CB8C737F94F6}" srcOrd="11" destOrd="0" presId="urn:microsoft.com/office/officeart/2005/8/layout/list1"/>
    <dgm:cxn modelId="{DECF9D53-A16D-4B74-9560-8E1B3126839A}" type="presParOf" srcId="{E7CBD7C2-0FDD-4BDC-9D44-547343277B4A}" destId="{191DD1C4-BC46-43BE-ABFA-7EA4FD8290DC}" srcOrd="12" destOrd="0" presId="urn:microsoft.com/office/officeart/2005/8/layout/list1"/>
    <dgm:cxn modelId="{F3BC8422-BFE9-4785-93ED-C9A3DE0CEC36}" type="presParOf" srcId="{191DD1C4-BC46-43BE-ABFA-7EA4FD8290DC}" destId="{50DA1047-E983-4681-A168-632B32F38BAE}" srcOrd="0" destOrd="0" presId="urn:microsoft.com/office/officeart/2005/8/layout/list1"/>
    <dgm:cxn modelId="{6E68BC34-30B8-4615-BC65-AF8709501FC9}" type="presParOf" srcId="{191DD1C4-BC46-43BE-ABFA-7EA4FD8290DC}" destId="{BE36EFEF-53A1-4EBC-8AD9-47297165D038}" srcOrd="1" destOrd="0" presId="urn:microsoft.com/office/officeart/2005/8/layout/list1"/>
    <dgm:cxn modelId="{B2CFF57F-0966-40FE-91F0-6EDC7ECD2C84}" type="presParOf" srcId="{E7CBD7C2-0FDD-4BDC-9D44-547343277B4A}" destId="{82B5712F-4E5E-43AC-9A88-7056FB0407E3}" srcOrd="13" destOrd="0" presId="urn:microsoft.com/office/officeart/2005/8/layout/list1"/>
    <dgm:cxn modelId="{16943CBC-946C-44E4-8C17-1E87C59B46BB}" type="presParOf" srcId="{E7CBD7C2-0FDD-4BDC-9D44-547343277B4A}" destId="{15140B8F-ED11-45D6-AE99-23EDE0007CDB}" srcOrd="14"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76537A7-2463-4BF4-97F7-478B91943436}">
      <dsp:nvSpPr>
        <dsp:cNvPr id="0" name=""/>
        <dsp:cNvSpPr/>
      </dsp:nvSpPr>
      <dsp:spPr>
        <a:xfrm>
          <a:off x="3941" y="120148"/>
          <a:ext cx="2370094" cy="403200"/>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rtl="0">
            <a:lnSpc>
              <a:spcPct val="90000"/>
            </a:lnSpc>
            <a:spcBef>
              <a:spcPct val="0"/>
            </a:spcBef>
            <a:spcAft>
              <a:spcPct val="35000"/>
            </a:spcAft>
          </a:pPr>
          <a:r>
            <a:rPr lang="en-US" sz="1400" kern="1200" dirty="0" smtClean="0"/>
            <a:t>Availability</a:t>
          </a:r>
          <a:endParaRPr lang="en-US" sz="1400" kern="1200" dirty="0"/>
        </a:p>
      </dsp:txBody>
      <dsp:txXfrm>
        <a:off x="3941" y="120148"/>
        <a:ext cx="2370094" cy="403200"/>
      </dsp:txXfrm>
    </dsp:sp>
    <dsp:sp modelId="{67829A35-E0CE-465E-A74A-13BD4EBC4464}">
      <dsp:nvSpPr>
        <dsp:cNvPr id="0" name=""/>
        <dsp:cNvSpPr/>
      </dsp:nvSpPr>
      <dsp:spPr>
        <a:xfrm>
          <a:off x="3941" y="523348"/>
          <a:ext cx="2370094" cy="4087991"/>
        </a:xfrm>
        <a:prstGeom prst="rect">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Availability defines the proportion of time that the system is functional and working. It will be affected by system errors, infrastructure problems, malicious attacks, and system load. It is usually measured as a percentage of uptime. Cloud applications typically provide users with a service level agreement (SLA),which means that applications must be designed and implemented in a way that maximizes availability</a:t>
          </a:r>
          <a:endParaRPr lang="en-US" sz="1400" kern="1200" dirty="0"/>
        </a:p>
      </dsp:txBody>
      <dsp:txXfrm>
        <a:off x="3941" y="523348"/>
        <a:ext cx="2370094" cy="4087991"/>
      </dsp:txXfrm>
    </dsp:sp>
    <dsp:sp modelId="{61123AFF-2009-46CB-883C-248CAC99A6D0}">
      <dsp:nvSpPr>
        <dsp:cNvPr id="0" name=""/>
        <dsp:cNvSpPr/>
      </dsp:nvSpPr>
      <dsp:spPr>
        <a:xfrm>
          <a:off x="2705849" y="120148"/>
          <a:ext cx="2370094" cy="403200"/>
        </a:xfrm>
        <a:prstGeom prst="rect">
          <a:avLst/>
        </a:prstGeom>
        <a:solidFill>
          <a:schemeClr val="accent5">
            <a:hueOff val="-2633410"/>
            <a:satOff val="-6917"/>
            <a:lumOff val="850"/>
            <a:alphaOff val="0"/>
          </a:schemeClr>
        </a:solidFill>
        <a:ln w="25400" cap="flat" cmpd="sng" algn="ctr">
          <a:solidFill>
            <a:schemeClr val="accent5">
              <a:hueOff val="-2633410"/>
              <a:satOff val="-6917"/>
              <a:lumOff val="85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kern="1200" dirty="0" smtClean="0"/>
            <a:t>Data Management</a:t>
          </a:r>
          <a:endParaRPr lang="en-US" sz="1400" kern="1200" dirty="0"/>
        </a:p>
      </dsp:txBody>
      <dsp:txXfrm>
        <a:off x="2705849" y="120148"/>
        <a:ext cx="2370094" cy="403200"/>
      </dsp:txXfrm>
    </dsp:sp>
    <dsp:sp modelId="{89CE2D2C-ACC3-4453-B3DE-755E67B5213D}">
      <dsp:nvSpPr>
        <dsp:cNvPr id="0" name=""/>
        <dsp:cNvSpPr/>
      </dsp:nvSpPr>
      <dsp:spPr>
        <a:xfrm>
          <a:off x="2705849" y="523348"/>
          <a:ext cx="2370094" cy="4087991"/>
        </a:xfrm>
        <a:prstGeom prst="rect">
          <a:avLst/>
        </a:prstGeom>
        <a:solidFill>
          <a:schemeClr val="accent5">
            <a:tint val="40000"/>
            <a:alpha val="90000"/>
            <a:hueOff val="-2821766"/>
            <a:satOff val="-1950"/>
            <a:lumOff val="-153"/>
            <a:alphaOff val="0"/>
          </a:schemeClr>
        </a:solidFill>
        <a:ln w="25400" cap="flat" cmpd="sng" algn="ctr">
          <a:solidFill>
            <a:schemeClr val="accent5">
              <a:tint val="40000"/>
              <a:alpha val="90000"/>
              <a:hueOff val="-2821766"/>
              <a:satOff val="-1950"/>
              <a:lumOff val="-15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Data management is the key element of cloud applications, and influences most of the quality attributes. Data is typically hosted in different locations and across multiple servers for reasons such as performance, scalability or availability, and this can present a range of challenges. For example, data consistency must be maintained, and data will typically need to be synchronized across different locations</a:t>
          </a:r>
          <a:endParaRPr lang="en-US" sz="1400" kern="1200" dirty="0"/>
        </a:p>
      </dsp:txBody>
      <dsp:txXfrm>
        <a:off x="2705849" y="523348"/>
        <a:ext cx="2370094" cy="4087991"/>
      </dsp:txXfrm>
    </dsp:sp>
    <dsp:sp modelId="{AA1B5951-DF8D-4DFA-9EE0-FF9A07A65C0F}">
      <dsp:nvSpPr>
        <dsp:cNvPr id="0" name=""/>
        <dsp:cNvSpPr/>
      </dsp:nvSpPr>
      <dsp:spPr>
        <a:xfrm>
          <a:off x="5407757" y="120148"/>
          <a:ext cx="2370094" cy="403200"/>
        </a:xfrm>
        <a:prstGeom prst="rect">
          <a:avLst/>
        </a:prstGeom>
        <a:solidFill>
          <a:schemeClr val="accent5">
            <a:hueOff val="-5266820"/>
            <a:satOff val="-13833"/>
            <a:lumOff val="1699"/>
            <a:alphaOff val="0"/>
          </a:schemeClr>
        </a:solidFill>
        <a:ln w="25400" cap="flat" cmpd="sng" algn="ctr">
          <a:solidFill>
            <a:schemeClr val="accent5">
              <a:hueOff val="-5266820"/>
              <a:satOff val="-13833"/>
              <a:lumOff val="1699"/>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kern="1200" dirty="0" smtClean="0"/>
            <a:t>Design and Implementation</a:t>
          </a:r>
          <a:endParaRPr lang="en-US" sz="1400" kern="1200" dirty="0"/>
        </a:p>
      </dsp:txBody>
      <dsp:txXfrm>
        <a:off x="5407757" y="120148"/>
        <a:ext cx="2370094" cy="403200"/>
      </dsp:txXfrm>
    </dsp:sp>
    <dsp:sp modelId="{7171BA44-7E21-4068-AAC1-7AFAC9E4A743}">
      <dsp:nvSpPr>
        <dsp:cNvPr id="0" name=""/>
        <dsp:cNvSpPr/>
      </dsp:nvSpPr>
      <dsp:spPr>
        <a:xfrm>
          <a:off x="5407757" y="523348"/>
          <a:ext cx="2370094" cy="4087991"/>
        </a:xfrm>
        <a:prstGeom prst="rect">
          <a:avLst/>
        </a:prstGeom>
        <a:solidFill>
          <a:schemeClr val="accent5">
            <a:tint val="40000"/>
            <a:alpha val="90000"/>
            <a:hueOff val="-5643532"/>
            <a:satOff val="-3900"/>
            <a:lumOff val="-307"/>
            <a:alphaOff val="0"/>
          </a:schemeClr>
        </a:solidFill>
        <a:ln w="25400" cap="flat" cmpd="sng" algn="ctr">
          <a:solidFill>
            <a:schemeClr val="accent5">
              <a:tint val="40000"/>
              <a:alpha val="90000"/>
              <a:hueOff val="-5643532"/>
              <a:satOff val="-3900"/>
              <a:lumOff val="-30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Good design encompasses factors such as consistency and coherence in component design and deployment, maintainability to simplify administration and development, and reusability to allow components and subsystems to be used in other applications and in other scenarios. Decisions made during the design and implementation phase have a huge impact on the quality and the total cost of ownership of cloud hosted applications and services.</a:t>
          </a:r>
          <a:endParaRPr lang="en-US" sz="1400" kern="1200" dirty="0"/>
        </a:p>
      </dsp:txBody>
      <dsp:txXfrm>
        <a:off x="5407757" y="523348"/>
        <a:ext cx="2370094" cy="4087991"/>
      </dsp:txXfrm>
    </dsp:sp>
    <dsp:sp modelId="{6227C228-BF70-4B50-A3E4-60400D498DBE}">
      <dsp:nvSpPr>
        <dsp:cNvPr id="0" name=""/>
        <dsp:cNvSpPr/>
      </dsp:nvSpPr>
      <dsp:spPr>
        <a:xfrm>
          <a:off x="8109664" y="120148"/>
          <a:ext cx="2370094" cy="403200"/>
        </a:xfrm>
        <a:prstGeom prst="rect">
          <a:avLst/>
        </a:prstGeom>
        <a:solidFill>
          <a:schemeClr val="accent5">
            <a:hueOff val="-7900229"/>
            <a:satOff val="-20750"/>
            <a:lumOff val="2549"/>
            <a:alphaOff val="0"/>
          </a:schemeClr>
        </a:solidFill>
        <a:ln w="25400" cap="flat" cmpd="sng" algn="ctr">
          <a:solidFill>
            <a:schemeClr val="accent5">
              <a:hueOff val="-7900229"/>
              <a:satOff val="-20750"/>
              <a:lumOff val="2549"/>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kern="1200" dirty="0" smtClean="0"/>
            <a:t>Messaging</a:t>
          </a:r>
        </a:p>
      </dsp:txBody>
      <dsp:txXfrm>
        <a:off x="8109664" y="120148"/>
        <a:ext cx="2370094" cy="403200"/>
      </dsp:txXfrm>
    </dsp:sp>
    <dsp:sp modelId="{D2D4FD8E-5F7C-4367-89EF-175497175438}">
      <dsp:nvSpPr>
        <dsp:cNvPr id="0" name=""/>
        <dsp:cNvSpPr/>
      </dsp:nvSpPr>
      <dsp:spPr>
        <a:xfrm>
          <a:off x="8109664" y="523348"/>
          <a:ext cx="2370094" cy="4087991"/>
        </a:xfrm>
        <a:prstGeom prst="rect">
          <a:avLst/>
        </a:prstGeom>
        <a:solidFill>
          <a:schemeClr val="accent5">
            <a:tint val="40000"/>
            <a:alpha val="90000"/>
            <a:hueOff val="-8465297"/>
            <a:satOff val="-5850"/>
            <a:lumOff val="-460"/>
            <a:alphaOff val="0"/>
          </a:schemeClr>
        </a:solidFill>
        <a:ln w="25400" cap="flat" cmpd="sng" algn="ctr">
          <a:solidFill>
            <a:schemeClr val="accent5">
              <a:tint val="40000"/>
              <a:alpha val="90000"/>
              <a:hueOff val="-8465297"/>
              <a:satOff val="-5850"/>
              <a:lumOff val="-46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The distributed nature of cloud applications requires a messaging infrastructure that connects the  components and services, ideally in a loosely coupled manner in order to maximize scalability. Asynchronous messaging is widely used, and provides many benefits, but also brings challenges such as the ordering of messages, poison message management, </a:t>
          </a:r>
          <a:r>
            <a:rPr lang="en-US" sz="1400" kern="1200" dirty="0" err="1" smtClean="0"/>
            <a:t>idempotency</a:t>
          </a:r>
          <a:r>
            <a:rPr lang="en-US" sz="1400" kern="1200" dirty="0" smtClean="0"/>
            <a:t>, and more.</a:t>
          </a:r>
          <a:endParaRPr lang="en-US" sz="1400" kern="1200" dirty="0"/>
        </a:p>
      </dsp:txBody>
      <dsp:txXfrm>
        <a:off x="8109664" y="523348"/>
        <a:ext cx="2370094" cy="4087991"/>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76537A7-2463-4BF4-97F7-478B91943436}">
      <dsp:nvSpPr>
        <dsp:cNvPr id="0" name=""/>
        <dsp:cNvSpPr/>
      </dsp:nvSpPr>
      <dsp:spPr>
        <a:xfrm>
          <a:off x="3941" y="43597"/>
          <a:ext cx="2370094" cy="477383"/>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lvl="0" algn="ctr" defTabSz="533400" rtl="0">
            <a:lnSpc>
              <a:spcPct val="90000"/>
            </a:lnSpc>
            <a:spcBef>
              <a:spcPct val="0"/>
            </a:spcBef>
            <a:spcAft>
              <a:spcPct val="35000"/>
            </a:spcAft>
          </a:pPr>
          <a:r>
            <a:rPr lang="en-US" sz="1200" kern="1200" dirty="0" smtClean="0"/>
            <a:t>Management</a:t>
          </a:r>
        </a:p>
        <a:p>
          <a:pPr lvl="0" algn="ctr" defTabSz="533400">
            <a:lnSpc>
              <a:spcPct val="90000"/>
            </a:lnSpc>
            <a:spcBef>
              <a:spcPct val="0"/>
            </a:spcBef>
            <a:spcAft>
              <a:spcPct val="35000"/>
            </a:spcAft>
          </a:pPr>
          <a:r>
            <a:rPr lang="en-US" sz="1200" kern="1200" dirty="0" smtClean="0"/>
            <a:t>and Monitoring</a:t>
          </a:r>
          <a:endParaRPr lang="en-US" sz="1200" kern="1200" dirty="0"/>
        </a:p>
      </dsp:txBody>
      <dsp:txXfrm>
        <a:off x="3941" y="43597"/>
        <a:ext cx="2370094" cy="477383"/>
      </dsp:txXfrm>
    </dsp:sp>
    <dsp:sp modelId="{67829A35-E0CE-465E-A74A-13BD4EBC4464}">
      <dsp:nvSpPr>
        <dsp:cNvPr id="0" name=""/>
        <dsp:cNvSpPr/>
      </dsp:nvSpPr>
      <dsp:spPr>
        <a:xfrm>
          <a:off x="3941" y="520980"/>
          <a:ext cx="2370094" cy="4166910"/>
        </a:xfrm>
        <a:prstGeom prst="rect">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smtClean="0"/>
            <a:t>Cloud applications </a:t>
          </a:r>
          <a:r>
            <a:rPr lang="en-US" sz="1200" kern="1200" smtClean="0"/>
            <a:t>run </a:t>
          </a:r>
          <a:r>
            <a:rPr lang="en-US" sz="1200" kern="1200" smtClean="0"/>
            <a:t>in </a:t>
          </a:r>
          <a:r>
            <a:rPr lang="en-US" sz="1200" kern="1200" dirty="0" smtClean="0"/>
            <a:t>a remote datacenter where you do not have full control of the infrastructure or, in some cases, the operating system. This can make management and monitoring more difficult than an on premises deployment. Applications must expose runtime information that administrators and operators can use to manage and monitor the system, as well as supporting changing business requirements and customization without requiring the application to be stopped or redeployed </a:t>
          </a:r>
          <a:endParaRPr lang="en-US" sz="1200" kern="1200" dirty="0"/>
        </a:p>
      </dsp:txBody>
      <dsp:txXfrm>
        <a:off x="3941" y="520980"/>
        <a:ext cx="2370094" cy="4166910"/>
      </dsp:txXfrm>
    </dsp:sp>
    <dsp:sp modelId="{61123AFF-2009-46CB-883C-248CAC99A6D0}">
      <dsp:nvSpPr>
        <dsp:cNvPr id="0" name=""/>
        <dsp:cNvSpPr/>
      </dsp:nvSpPr>
      <dsp:spPr>
        <a:xfrm>
          <a:off x="2705849" y="43597"/>
          <a:ext cx="2370094" cy="477383"/>
        </a:xfrm>
        <a:prstGeom prst="rect">
          <a:avLst/>
        </a:prstGeom>
        <a:solidFill>
          <a:schemeClr val="accent5">
            <a:hueOff val="-2633410"/>
            <a:satOff val="-6917"/>
            <a:lumOff val="850"/>
            <a:alphaOff val="0"/>
          </a:schemeClr>
        </a:solidFill>
        <a:ln w="25400" cap="flat" cmpd="sng" algn="ctr">
          <a:solidFill>
            <a:schemeClr val="accent5">
              <a:hueOff val="-2633410"/>
              <a:satOff val="-6917"/>
              <a:lumOff val="85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200" kern="1200" dirty="0" smtClean="0"/>
            <a:t>Performance and Scalability</a:t>
          </a:r>
          <a:endParaRPr lang="en-US" sz="1200" kern="1200" dirty="0"/>
        </a:p>
      </dsp:txBody>
      <dsp:txXfrm>
        <a:off x="2705849" y="43597"/>
        <a:ext cx="2370094" cy="477383"/>
      </dsp:txXfrm>
    </dsp:sp>
    <dsp:sp modelId="{89CE2D2C-ACC3-4453-B3DE-755E67B5213D}">
      <dsp:nvSpPr>
        <dsp:cNvPr id="0" name=""/>
        <dsp:cNvSpPr/>
      </dsp:nvSpPr>
      <dsp:spPr>
        <a:xfrm>
          <a:off x="2705849" y="520980"/>
          <a:ext cx="2370094" cy="4166910"/>
        </a:xfrm>
        <a:prstGeom prst="rect">
          <a:avLst/>
        </a:prstGeom>
        <a:solidFill>
          <a:schemeClr val="accent5">
            <a:tint val="40000"/>
            <a:alpha val="90000"/>
            <a:hueOff val="-2821766"/>
            <a:satOff val="-1950"/>
            <a:lumOff val="-153"/>
            <a:alphaOff val="0"/>
          </a:schemeClr>
        </a:solidFill>
        <a:ln w="25400" cap="flat" cmpd="sng" algn="ctr">
          <a:solidFill>
            <a:schemeClr val="accent5">
              <a:tint val="40000"/>
              <a:alpha val="90000"/>
              <a:hueOff val="-2821766"/>
              <a:satOff val="-1950"/>
              <a:lumOff val="-15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smtClean="0"/>
            <a:t>Performance is an indication of the responsiveness of a system to execute any action within a given time interval, while scalability is ability of a system either to handle increases in load without impact on performance or for the available resources to be readily increased. Cloud applications typically encounter variable workloads and peaks in activity. Predicting these, especially in a multi-tenant scenario, is almost impossible. Instead, applications should be able to scale out within limits to meet peaks in demand, and scale in when demand decreases. Scalability concerns not just compute instances, but other elements such as data storage, messaging infrastructure, and more.</a:t>
          </a:r>
          <a:endParaRPr lang="en-US" sz="1200" kern="1200" dirty="0"/>
        </a:p>
      </dsp:txBody>
      <dsp:txXfrm>
        <a:off x="2705849" y="520980"/>
        <a:ext cx="2370094" cy="4166910"/>
      </dsp:txXfrm>
    </dsp:sp>
    <dsp:sp modelId="{8C6E62AF-1212-44F7-AEB8-BA03343ADB37}">
      <dsp:nvSpPr>
        <dsp:cNvPr id="0" name=""/>
        <dsp:cNvSpPr/>
      </dsp:nvSpPr>
      <dsp:spPr>
        <a:xfrm>
          <a:off x="5407757" y="43597"/>
          <a:ext cx="2370094" cy="477383"/>
        </a:xfrm>
        <a:prstGeom prst="rect">
          <a:avLst/>
        </a:prstGeom>
        <a:solidFill>
          <a:schemeClr val="accent5">
            <a:hueOff val="-5266820"/>
            <a:satOff val="-13833"/>
            <a:lumOff val="1699"/>
            <a:alphaOff val="0"/>
          </a:schemeClr>
        </a:solidFill>
        <a:ln w="25400" cap="flat" cmpd="sng" algn="ctr">
          <a:solidFill>
            <a:schemeClr val="accent5">
              <a:hueOff val="-5266820"/>
              <a:satOff val="-13833"/>
              <a:lumOff val="1699"/>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200" kern="1200" dirty="0" smtClean="0"/>
            <a:t>Resiliency</a:t>
          </a:r>
          <a:endParaRPr lang="en-US" sz="1200" kern="1200" dirty="0"/>
        </a:p>
      </dsp:txBody>
      <dsp:txXfrm>
        <a:off x="5407757" y="43597"/>
        <a:ext cx="2370094" cy="477383"/>
      </dsp:txXfrm>
    </dsp:sp>
    <dsp:sp modelId="{81E05E7C-6CF7-465E-8446-02A5C1CCDB6B}">
      <dsp:nvSpPr>
        <dsp:cNvPr id="0" name=""/>
        <dsp:cNvSpPr/>
      </dsp:nvSpPr>
      <dsp:spPr>
        <a:xfrm>
          <a:off x="5407757" y="520980"/>
          <a:ext cx="2370094" cy="4166910"/>
        </a:xfrm>
        <a:prstGeom prst="rect">
          <a:avLst/>
        </a:prstGeom>
        <a:solidFill>
          <a:schemeClr val="accent5">
            <a:tint val="40000"/>
            <a:alpha val="90000"/>
            <a:hueOff val="-5643532"/>
            <a:satOff val="-3900"/>
            <a:lumOff val="-307"/>
            <a:alphaOff val="0"/>
          </a:schemeClr>
        </a:solidFill>
        <a:ln w="25400" cap="flat" cmpd="sng" algn="ctr">
          <a:solidFill>
            <a:schemeClr val="accent5">
              <a:tint val="40000"/>
              <a:alpha val="90000"/>
              <a:hueOff val="-5643532"/>
              <a:satOff val="-3900"/>
              <a:lumOff val="-30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smtClean="0"/>
            <a:t>Resiliency is the ability of a system to gracefully handle and recover from failures. The nature of cloud hosting, where applications are often multi-tenant, use shared platform services, compete for resources and bandwidth, communicate over the Internet, and run on commodity hardware means there is an increased likelihood that both transient and more permanent faults will arise. Detecting failures, and recovering quickly and efficiently, is necessary to maintain resiliency</a:t>
          </a:r>
          <a:endParaRPr lang="en-US" sz="1200" kern="1200" dirty="0"/>
        </a:p>
      </dsp:txBody>
      <dsp:txXfrm>
        <a:off x="5407757" y="520980"/>
        <a:ext cx="2370094" cy="4166910"/>
      </dsp:txXfrm>
    </dsp:sp>
    <dsp:sp modelId="{046F32BE-3540-47E7-B68D-54BC9261276C}">
      <dsp:nvSpPr>
        <dsp:cNvPr id="0" name=""/>
        <dsp:cNvSpPr/>
      </dsp:nvSpPr>
      <dsp:spPr>
        <a:xfrm>
          <a:off x="8109664" y="43597"/>
          <a:ext cx="2370094" cy="477383"/>
        </a:xfrm>
        <a:prstGeom prst="rect">
          <a:avLst/>
        </a:prstGeom>
        <a:solidFill>
          <a:schemeClr val="accent5">
            <a:hueOff val="-7900229"/>
            <a:satOff val="-20750"/>
            <a:lumOff val="2549"/>
            <a:alphaOff val="0"/>
          </a:schemeClr>
        </a:solidFill>
        <a:ln w="25400" cap="flat" cmpd="sng" algn="ctr">
          <a:solidFill>
            <a:schemeClr val="accent5">
              <a:hueOff val="-7900229"/>
              <a:satOff val="-20750"/>
              <a:lumOff val="2549"/>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200" kern="1200" dirty="0" smtClean="0"/>
            <a:t>Security</a:t>
          </a:r>
        </a:p>
      </dsp:txBody>
      <dsp:txXfrm>
        <a:off x="8109664" y="43597"/>
        <a:ext cx="2370094" cy="477383"/>
      </dsp:txXfrm>
    </dsp:sp>
    <dsp:sp modelId="{5431B694-1801-4D32-94A2-290A4E4BF94B}">
      <dsp:nvSpPr>
        <dsp:cNvPr id="0" name=""/>
        <dsp:cNvSpPr/>
      </dsp:nvSpPr>
      <dsp:spPr>
        <a:xfrm>
          <a:off x="8109664" y="520980"/>
          <a:ext cx="2370094" cy="4166910"/>
        </a:xfrm>
        <a:prstGeom prst="rect">
          <a:avLst/>
        </a:prstGeom>
        <a:solidFill>
          <a:schemeClr val="accent5">
            <a:tint val="40000"/>
            <a:alpha val="90000"/>
            <a:hueOff val="-8465297"/>
            <a:satOff val="-5850"/>
            <a:lumOff val="-460"/>
            <a:alphaOff val="0"/>
          </a:schemeClr>
        </a:solidFill>
        <a:ln w="25400" cap="flat" cmpd="sng" algn="ctr">
          <a:solidFill>
            <a:schemeClr val="accent5">
              <a:tint val="40000"/>
              <a:alpha val="90000"/>
              <a:hueOff val="-8465297"/>
              <a:satOff val="-5850"/>
              <a:lumOff val="-46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smtClean="0"/>
            <a:t>Security is the capability of a system to prevent malicious or accidental actions outside of the designed usage, and to prevent disclosure or loss of information. Cloud applications are exposed on the Internet outside trusted on-premises boundaries, are often open to the public, and may serve </a:t>
          </a:r>
          <a:r>
            <a:rPr lang="en-US" sz="1200" kern="1200" dirty="0" err="1" smtClean="0"/>
            <a:t>untrusted</a:t>
          </a:r>
          <a:r>
            <a:rPr lang="en-US" sz="1200" kern="1200" dirty="0" smtClean="0"/>
            <a:t> users. Applications must be designed and deployed in a way that protects them from malicious attacks, restricts access to only approved users, and protects sensitive data.</a:t>
          </a:r>
          <a:endParaRPr lang="en-US" sz="1200" kern="1200" dirty="0"/>
        </a:p>
      </dsp:txBody>
      <dsp:txXfrm>
        <a:off x="8109664" y="520980"/>
        <a:ext cx="2370094" cy="416691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9745159-85EA-4513-AC90-641856392E6E}">
      <dsp:nvSpPr>
        <dsp:cNvPr id="0" name=""/>
        <dsp:cNvSpPr/>
      </dsp:nvSpPr>
      <dsp:spPr>
        <a:xfrm>
          <a:off x="1212" y="340908"/>
          <a:ext cx="1527443" cy="916466"/>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Cache-aside Pattern</a:t>
          </a:r>
          <a:endParaRPr lang="en-US" sz="1200" b="1" kern="1200" dirty="0"/>
        </a:p>
      </dsp:txBody>
      <dsp:txXfrm>
        <a:off x="1212" y="340908"/>
        <a:ext cx="1527443" cy="916466"/>
      </dsp:txXfrm>
    </dsp:sp>
    <dsp:sp modelId="{3DD162FE-6C02-4E38-85F2-352620DBF582}">
      <dsp:nvSpPr>
        <dsp:cNvPr id="0" name=""/>
        <dsp:cNvSpPr/>
      </dsp:nvSpPr>
      <dsp:spPr>
        <a:xfrm>
          <a:off x="1681400" y="340908"/>
          <a:ext cx="1527443" cy="916466"/>
        </a:xfrm>
        <a:prstGeom prst="rect">
          <a:avLst/>
        </a:prstGeom>
        <a:solidFill>
          <a:schemeClr val="accent5">
            <a:hueOff val="-343488"/>
            <a:satOff val="-902"/>
            <a:lumOff val="11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Circuit Breaker Pattern</a:t>
          </a:r>
          <a:endParaRPr lang="en-US" sz="1200" b="1" kern="1200" dirty="0"/>
        </a:p>
      </dsp:txBody>
      <dsp:txXfrm>
        <a:off x="1681400" y="340908"/>
        <a:ext cx="1527443" cy="916466"/>
      </dsp:txXfrm>
    </dsp:sp>
    <dsp:sp modelId="{0ECB882E-1A5A-4446-920A-BBF41DFFAFC2}">
      <dsp:nvSpPr>
        <dsp:cNvPr id="0" name=""/>
        <dsp:cNvSpPr/>
      </dsp:nvSpPr>
      <dsp:spPr>
        <a:xfrm>
          <a:off x="3361588" y="340908"/>
          <a:ext cx="1527443" cy="916466"/>
        </a:xfrm>
        <a:prstGeom prst="rect">
          <a:avLst/>
        </a:prstGeom>
        <a:solidFill>
          <a:schemeClr val="accent5">
            <a:hueOff val="-686976"/>
            <a:satOff val="-1804"/>
            <a:lumOff val="22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Compensating Transaction Pattern</a:t>
          </a:r>
          <a:endParaRPr lang="en-US" sz="1200" b="1" kern="1200" dirty="0"/>
        </a:p>
      </dsp:txBody>
      <dsp:txXfrm>
        <a:off x="3361588" y="340908"/>
        <a:ext cx="1527443" cy="916466"/>
      </dsp:txXfrm>
    </dsp:sp>
    <dsp:sp modelId="{9DE32003-DEA0-4602-A9DB-0C51115A93DE}">
      <dsp:nvSpPr>
        <dsp:cNvPr id="0" name=""/>
        <dsp:cNvSpPr/>
      </dsp:nvSpPr>
      <dsp:spPr>
        <a:xfrm>
          <a:off x="5041776" y="340908"/>
          <a:ext cx="1527443" cy="916466"/>
        </a:xfrm>
        <a:prstGeom prst="rect">
          <a:avLst/>
        </a:prstGeom>
        <a:solidFill>
          <a:schemeClr val="accent5">
            <a:hueOff val="-1030465"/>
            <a:satOff val="-2707"/>
            <a:lumOff val="33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Competing Consumers Pattern</a:t>
          </a:r>
          <a:endParaRPr lang="en-US" sz="1200" b="1" kern="1200" dirty="0"/>
        </a:p>
      </dsp:txBody>
      <dsp:txXfrm>
        <a:off x="5041776" y="340908"/>
        <a:ext cx="1527443" cy="916466"/>
      </dsp:txXfrm>
    </dsp:sp>
    <dsp:sp modelId="{7D1383BB-20F0-40D9-963E-AA1D48048BDC}">
      <dsp:nvSpPr>
        <dsp:cNvPr id="0" name=""/>
        <dsp:cNvSpPr/>
      </dsp:nvSpPr>
      <dsp:spPr>
        <a:xfrm>
          <a:off x="6721964" y="340908"/>
          <a:ext cx="1527443" cy="916466"/>
        </a:xfrm>
        <a:prstGeom prst="rect">
          <a:avLst/>
        </a:prstGeom>
        <a:solidFill>
          <a:schemeClr val="accent5">
            <a:hueOff val="-1373953"/>
            <a:satOff val="-3609"/>
            <a:lumOff val="44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Compute Resource Consolidation Pattern</a:t>
          </a:r>
          <a:endParaRPr lang="en-US" sz="1200" b="1" kern="1200" dirty="0"/>
        </a:p>
      </dsp:txBody>
      <dsp:txXfrm>
        <a:off x="6721964" y="340908"/>
        <a:ext cx="1527443" cy="916466"/>
      </dsp:txXfrm>
    </dsp:sp>
    <dsp:sp modelId="{85C76485-9DDB-4113-BE7B-C729F36529B9}">
      <dsp:nvSpPr>
        <dsp:cNvPr id="0" name=""/>
        <dsp:cNvSpPr/>
      </dsp:nvSpPr>
      <dsp:spPr>
        <a:xfrm>
          <a:off x="8402152" y="340908"/>
          <a:ext cx="1527443" cy="916466"/>
        </a:xfrm>
        <a:prstGeom prst="rect">
          <a:avLst/>
        </a:prstGeom>
        <a:solidFill>
          <a:schemeClr val="accent5">
            <a:hueOff val="-1717441"/>
            <a:satOff val="-4511"/>
            <a:lumOff val="55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Command and Query Responsibility Segregation (CQRS) Pattern</a:t>
          </a:r>
          <a:endParaRPr lang="en-US" sz="1200" b="1" kern="1200" dirty="0"/>
        </a:p>
      </dsp:txBody>
      <dsp:txXfrm>
        <a:off x="8402152" y="340908"/>
        <a:ext cx="1527443" cy="916466"/>
      </dsp:txXfrm>
    </dsp:sp>
    <dsp:sp modelId="{C9E1542C-57CE-4A71-A3B7-45CFA110E390}">
      <dsp:nvSpPr>
        <dsp:cNvPr id="0" name=""/>
        <dsp:cNvSpPr/>
      </dsp:nvSpPr>
      <dsp:spPr>
        <a:xfrm>
          <a:off x="1212" y="1410119"/>
          <a:ext cx="1527443" cy="916466"/>
        </a:xfrm>
        <a:prstGeom prst="rect">
          <a:avLst/>
        </a:prstGeom>
        <a:solidFill>
          <a:schemeClr val="accent5">
            <a:hueOff val="-2060929"/>
            <a:satOff val="-5413"/>
            <a:lumOff val="66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Event Sourcing Pattern</a:t>
          </a:r>
          <a:endParaRPr lang="en-US" sz="1200" b="1" kern="1200" dirty="0"/>
        </a:p>
      </dsp:txBody>
      <dsp:txXfrm>
        <a:off x="1212" y="1410119"/>
        <a:ext cx="1527443" cy="916466"/>
      </dsp:txXfrm>
    </dsp:sp>
    <dsp:sp modelId="{35703A2C-0BA1-42D3-9B3A-44AB65F28C79}">
      <dsp:nvSpPr>
        <dsp:cNvPr id="0" name=""/>
        <dsp:cNvSpPr/>
      </dsp:nvSpPr>
      <dsp:spPr>
        <a:xfrm>
          <a:off x="1681400" y="1410119"/>
          <a:ext cx="1527443" cy="916466"/>
        </a:xfrm>
        <a:prstGeom prst="rect">
          <a:avLst/>
        </a:prstGeom>
        <a:solidFill>
          <a:schemeClr val="accent5">
            <a:hueOff val="-2404417"/>
            <a:satOff val="-6315"/>
            <a:lumOff val="77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External Configuration Store Pattern</a:t>
          </a:r>
          <a:endParaRPr lang="en-US" sz="1200" b="1" kern="1200" dirty="0"/>
        </a:p>
      </dsp:txBody>
      <dsp:txXfrm>
        <a:off x="1681400" y="1410119"/>
        <a:ext cx="1527443" cy="916466"/>
      </dsp:txXfrm>
    </dsp:sp>
    <dsp:sp modelId="{31713524-9352-44D3-92E7-067E1902F9D6}">
      <dsp:nvSpPr>
        <dsp:cNvPr id="0" name=""/>
        <dsp:cNvSpPr/>
      </dsp:nvSpPr>
      <dsp:spPr>
        <a:xfrm>
          <a:off x="3361588" y="1410119"/>
          <a:ext cx="1527443" cy="916466"/>
        </a:xfrm>
        <a:prstGeom prst="rect">
          <a:avLst/>
        </a:prstGeom>
        <a:solidFill>
          <a:schemeClr val="accent5">
            <a:hueOff val="-2747906"/>
            <a:satOff val="-7217"/>
            <a:lumOff val="88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Federated Identity Pattern</a:t>
          </a:r>
          <a:endParaRPr lang="en-US" sz="1200" b="1" kern="1200" dirty="0"/>
        </a:p>
      </dsp:txBody>
      <dsp:txXfrm>
        <a:off x="3361588" y="1410119"/>
        <a:ext cx="1527443" cy="916466"/>
      </dsp:txXfrm>
    </dsp:sp>
    <dsp:sp modelId="{42DBEB11-E8A0-4973-8DAB-199C9D605E4B}">
      <dsp:nvSpPr>
        <dsp:cNvPr id="0" name=""/>
        <dsp:cNvSpPr/>
      </dsp:nvSpPr>
      <dsp:spPr>
        <a:xfrm>
          <a:off x="5041776" y="1410119"/>
          <a:ext cx="1527443" cy="916466"/>
        </a:xfrm>
        <a:prstGeom prst="rect">
          <a:avLst/>
        </a:prstGeom>
        <a:solidFill>
          <a:schemeClr val="accent5">
            <a:hueOff val="-3091394"/>
            <a:satOff val="-8120"/>
            <a:lumOff val="99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Gatekeeper Pattern</a:t>
          </a:r>
          <a:endParaRPr lang="en-US" sz="1200" b="1" kern="1200" dirty="0"/>
        </a:p>
      </dsp:txBody>
      <dsp:txXfrm>
        <a:off x="5041776" y="1410119"/>
        <a:ext cx="1527443" cy="916466"/>
      </dsp:txXfrm>
    </dsp:sp>
    <dsp:sp modelId="{70848A57-3C72-4F15-9201-194BFF1F1027}">
      <dsp:nvSpPr>
        <dsp:cNvPr id="0" name=""/>
        <dsp:cNvSpPr/>
      </dsp:nvSpPr>
      <dsp:spPr>
        <a:xfrm>
          <a:off x="6721964" y="1410119"/>
          <a:ext cx="1527443" cy="916466"/>
        </a:xfrm>
        <a:prstGeom prst="rect">
          <a:avLst/>
        </a:prstGeom>
        <a:solidFill>
          <a:schemeClr val="accent5">
            <a:hueOff val="-3434882"/>
            <a:satOff val="-9022"/>
            <a:lumOff val="110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Health Endpoint Monitoring Pattern</a:t>
          </a:r>
          <a:endParaRPr lang="en-US" sz="1200" b="1" kern="1200" dirty="0"/>
        </a:p>
      </dsp:txBody>
      <dsp:txXfrm>
        <a:off x="6721964" y="1410119"/>
        <a:ext cx="1527443" cy="916466"/>
      </dsp:txXfrm>
    </dsp:sp>
    <dsp:sp modelId="{FC60770F-7F8A-4442-837D-80609253F9C1}">
      <dsp:nvSpPr>
        <dsp:cNvPr id="0" name=""/>
        <dsp:cNvSpPr/>
      </dsp:nvSpPr>
      <dsp:spPr>
        <a:xfrm>
          <a:off x="8402152" y="1410119"/>
          <a:ext cx="1527443" cy="916466"/>
        </a:xfrm>
        <a:prstGeom prst="rect">
          <a:avLst/>
        </a:prstGeom>
        <a:solidFill>
          <a:schemeClr val="accent5">
            <a:hueOff val="-3778371"/>
            <a:satOff val="-9924"/>
            <a:lumOff val="121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Index Table Pattern</a:t>
          </a:r>
          <a:endParaRPr lang="en-US" sz="1200" b="1" kern="1200" dirty="0"/>
        </a:p>
      </dsp:txBody>
      <dsp:txXfrm>
        <a:off x="8402152" y="1410119"/>
        <a:ext cx="1527443" cy="916466"/>
      </dsp:txXfrm>
    </dsp:sp>
    <dsp:sp modelId="{404438DF-FF1C-440A-8D0F-7080E512A369}">
      <dsp:nvSpPr>
        <dsp:cNvPr id="0" name=""/>
        <dsp:cNvSpPr/>
      </dsp:nvSpPr>
      <dsp:spPr>
        <a:xfrm>
          <a:off x="1212" y="2479330"/>
          <a:ext cx="1527443" cy="916466"/>
        </a:xfrm>
        <a:prstGeom prst="rect">
          <a:avLst/>
        </a:prstGeom>
        <a:solidFill>
          <a:schemeClr val="accent5">
            <a:hueOff val="-4121859"/>
            <a:satOff val="-10826"/>
            <a:lumOff val="133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Leader Election Pattern</a:t>
          </a:r>
          <a:endParaRPr lang="en-US" sz="1200" b="1" kern="1200" dirty="0"/>
        </a:p>
      </dsp:txBody>
      <dsp:txXfrm>
        <a:off x="1212" y="2479330"/>
        <a:ext cx="1527443" cy="916466"/>
      </dsp:txXfrm>
    </dsp:sp>
    <dsp:sp modelId="{9B67B0CE-F38F-418B-A7EC-421A51802F78}">
      <dsp:nvSpPr>
        <dsp:cNvPr id="0" name=""/>
        <dsp:cNvSpPr/>
      </dsp:nvSpPr>
      <dsp:spPr>
        <a:xfrm>
          <a:off x="1681400" y="2479330"/>
          <a:ext cx="1527443" cy="916466"/>
        </a:xfrm>
        <a:prstGeom prst="rect">
          <a:avLst/>
        </a:prstGeom>
        <a:solidFill>
          <a:schemeClr val="accent5">
            <a:hueOff val="-4465347"/>
            <a:satOff val="-11728"/>
            <a:lumOff val="144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dirty="0" smtClean="0"/>
            <a:t>Materialized View Pattern</a:t>
          </a:r>
          <a:endParaRPr lang="en-US" sz="1200" b="1" kern="1200" dirty="0"/>
        </a:p>
      </dsp:txBody>
      <dsp:txXfrm>
        <a:off x="1681400" y="2479330"/>
        <a:ext cx="1527443" cy="916466"/>
      </dsp:txXfrm>
    </dsp:sp>
    <dsp:sp modelId="{0F76707A-50F7-4C68-8E19-7C34740227CA}">
      <dsp:nvSpPr>
        <dsp:cNvPr id="0" name=""/>
        <dsp:cNvSpPr/>
      </dsp:nvSpPr>
      <dsp:spPr>
        <a:xfrm>
          <a:off x="3361588" y="2479330"/>
          <a:ext cx="1527443" cy="916466"/>
        </a:xfrm>
        <a:prstGeom prst="rect">
          <a:avLst/>
        </a:prstGeom>
        <a:solidFill>
          <a:schemeClr val="accent5">
            <a:hueOff val="-4808835"/>
            <a:satOff val="-12630"/>
            <a:lumOff val="155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Pipes and Filters Pattern</a:t>
          </a:r>
          <a:endParaRPr lang="en-US" sz="1200" b="1" kern="1200" dirty="0"/>
        </a:p>
      </dsp:txBody>
      <dsp:txXfrm>
        <a:off x="3361588" y="2479330"/>
        <a:ext cx="1527443" cy="916466"/>
      </dsp:txXfrm>
    </dsp:sp>
    <dsp:sp modelId="{8FAE348B-597F-4294-8B62-48203D0E1D8D}">
      <dsp:nvSpPr>
        <dsp:cNvPr id="0" name=""/>
        <dsp:cNvSpPr/>
      </dsp:nvSpPr>
      <dsp:spPr>
        <a:xfrm>
          <a:off x="5041776" y="2479330"/>
          <a:ext cx="1527443" cy="916466"/>
        </a:xfrm>
        <a:prstGeom prst="rect">
          <a:avLst/>
        </a:prstGeom>
        <a:solidFill>
          <a:schemeClr val="accent5">
            <a:hueOff val="-5152324"/>
            <a:satOff val="-13533"/>
            <a:lumOff val="166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Priority Queue Pattern</a:t>
          </a:r>
          <a:endParaRPr lang="en-US" sz="1200" b="1" kern="1200" dirty="0"/>
        </a:p>
      </dsp:txBody>
      <dsp:txXfrm>
        <a:off x="5041776" y="2479330"/>
        <a:ext cx="1527443" cy="916466"/>
      </dsp:txXfrm>
    </dsp:sp>
    <dsp:sp modelId="{DA54D0E9-9574-4614-A53E-8DFB46CB3787}">
      <dsp:nvSpPr>
        <dsp:cNvPr id="0" name=""/>
        <dsp:cNvSpPr/>
      </dsp:nvSpPr>
      <dsp:spPr>
        <a:xfrm>
          <a:off x="6721964" y="2479330"/>
          <a:ext cx="1527443" cy="916466"/>
        </a:xfrm>
        <a:prstGeom prst="rect">
          <a:avLst/>
        </a:prstGeom>
        <a:solidFill>
          <a:schemeClr val="accent5">
            <a:hueOff val="-5495812"/>
            <a:satOff val="-14435"/>
            <a:lumOff val="17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Queue-based Load Leveling Pattern</a:t>
          </a:r>
          <a:endParaRPr lang="en-US" sz="1200" b="1" kern="1200" dirty="0"/>
        </a:p>
      </dsp:txBody>
      <dsp:txXfrm>
        <a:off x="6721964" y="2479330"/>
        <a:ext cx="1527443" cy="916466"/>
      </dsp:txXfrm>
    </dsp:sp>
    <dsp:sp modelId="{8CD26E6D-EE89-42F4-A4D9-4DE3708DA827}">
      <dsp:nvSpPr>
        <dsp:cNvPr id="0" name=""/>
        <dsp:cNvSpPr/>
      </dsp:nvSpPr>
      <dsp:spPr>
        <a:xfrm>
          <a:off x="8402152" y="2479330"/>
          <a:ext cx="1527443" cy="916466"/>
        </a:xfrm>
        <a:prstGeom prst="rect">
          <a:avLst/>
        </a:prstGeom>
        <a:solidFill>
          <a:schemeClr val="accent5">
            <a:hueOff val="-5839300"/>
            <a:satOff val="-15337"/>
            <a:lumOff val="18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Retry Pattern</a:t>
          </a:r>
          <a:endParaRPr lang="en-US" sz="1200" b="1" kern="1200" dirty="0"/>
        </a:p>
      </dsp:txBody>
      <dsp:txXfrm>
        <a:off x="8402152" y="2479330"/>
        <a:ext cx="1527443" cy="916466"/>
      </dsp:txXfrm>
    </dsp:sp>
    <dsp:sp modelId="{EEF73CF4-38C3-4B55-A6E6-5C8AD2C2BA43}">
      <dsp:nvSpPr>
        <dsp:cNvPr id="0" name=""/>
        <dsp:cNvSpPr/>
      </dsp:nvSpPr>
      <dsp:spPr>
        <a:xfrm>
          <a:off x="1212" y="3548540"/>
          <a:ext cx="1527443" cy="916466"/>
        </a:xfrm>
        <a:prstGeom prst="rect">
          <a:avLst/>
        </a:prstGeom>
        <a:solidFill>
          <a:schemeClr val="accent5">
            <a:hueOff val="-6182788"/>
            <a:satOff val="-16239"/>
            <a:lumOff val="199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Runtime Reconfiguration Pattern</a:t>
          </a:r>
          <a:endParaRPr lang="en-US" sz="1200" b="1" kern="1200" dirty="0"/>
        </a:p>
      </dsp:txBody>
      <dsp:txXfrm>
        <a:off x="1212" y="3548540"/>
        <a:ext cx="1527443" cy="916466"/>
      </dsp:txXfrm>
    </dsp:sp>
    <dsp:sp modelId="{576928BB-56B9-4DE1-A190-164F278B7CEA}">
      <dsp:nvSpPr>
        <dsp:cNvPr id="0" name=""/>
        <dsp:cNvSpPr/>
      </dsp:nvSpPr>
      <dsp:spPr>
        <a:xfrm>
          <a:off x="1681400" y="3548540"/>
          <a:ext cx="1527443" cy="916466"/>
        </a:xfrm>
        <a:prstGeom prst="rect">
          <a:avLst/>
        </a:prstGeom>
        <a:solidFill>
          <a:schemeClr val="accent5">
            <a:hueOff val="-6526276"/>
            <a:satOff val="-17141"/>
            <a:lumOff val="210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Scheduler Agent Supervisor Pattern</a:t>
          </a:r>
          <a:endParaRPr lang="en-US" sz="1200" b="1" kern="1200" dirty="0"/>
        </a:p>
      </dsp:txBody>
      <dsp:txXfrm>
        <a:off x="1681400" y="3548540"/>
        <a:ext cx="1527443" cy="916466"/>
      </dsp:txXfrm>
    </dsp:sp>
    <dsp:sp modelId="{73490067-207A-42B0-81E3-7ABAE426AF0B}">
      <dsp:nvSpPr>
        <dsp:cNvPr id="0" name=""/>
        <dsp:cNvSpPr/>
      </dsp:nvSpPr>
      <dsp:spPr>
        <a:xfrm>
          <a:off x="3361588" y="3548540"/>
          <a:ext cx="1527443" cy="916466"/>
        </a:xfrm>
        <a:prstGeom prst="rect">
          <a:avLst/>
        </a:prstGeom>
        <a:solidFill>
          <a:schemeClr val="accent5">
            <a:hueOff val="-6869764"/>
            <a:satOff val="-18043"/>
            <a:lumOff val="221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Sharding Pattern</a:t>
          </a:r>
          <a:endParaRPr lang="en-US" sz="1200" b="1" kern="1200" dirty="0"/>
        </a:p>
      </dsp:txBody>
      <dsp:txXfrm>
        <a:off x="3361588" y="3548540"/>
        <a:ext cx="1527443" cy="916466"/>
      </dsp:txXfrm>
    </dsp:sp>
    <dsp:sp modelId="{7157CB8A-EFE2-44D1-AA04-33C8F8041E32}">
      <dsp:nvSpPr>
        <dsp:cNvPr id="0" name=""/>
        <dsp:cNvSpPr/>
      </dsp:nvSpPr>
      <dsp:spPr>
        <a:xfrm>
          <a:off x="5041776" y="3548540"/>
          <a:ext cx="1527443" cy="916466"/>
        </a:xfrm>
        <a:prstGeom prst="rect">
          <a:avLst/>
        </a:prstGeom>
        <a:solidFill>
          <a:schemeClr val="accent5">
            <a:hueOff val="-7213253"/>
            <a:satOff val="-18946"/>
            <a:lumOff val="232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Static Content Hosting Pattern</a:t>
          </a:r>
          <a:endParaRPr lang="en-US" sz="1200" b="1" kern="1200" dirty="0"/>
        </a:p>
      </dsp:txBody>
      <dsp:txXfrm>
        <a:off x="5041776" y="3548540"/>
        <a:ext cx="1527443" cy="916466"/>
      </dsp:txXfrm>
    </dsp:sp>
    <dsp:sp modelId="{F7C34D32-17C3-4099-BAD8-AF138A90D367}">
      <dsp:nvSpPr>
        <dsp:cNvPr id="0" name=""/>
        <dsp:cNvSpPr/>
      </dsp:nvSpPr>
      <dsp:spPr>
        <a:xfrm>
          <a:off x="6721964" y="3548540"/>
          <a:ext cx="1527443" cy="916466"/>
        </a:xfrm>
        <a:prstGeom prst="rect">
          <a:avLst/>
        </a:prstGeom>
        <a:solidFill>
          <a:schemeClr val="accent5">
            <a:hueOff val="-7556741"/>
            <a:satOff val="-19848"/>
            <a:lumOff val="243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Throttling Pattern</a:t>
          </a:r>
          <a:endParaRPr lang="en-US" sz="1200" b="1" kern="1200" dirty="0"/>
        </a:p>
      </dsp:txBody>
      <dsp:txXfrm>
        <a:off x="6721964" y="3548540"/>
        <a:ext cx="1527443" cy="916466"/>
      </dsp:txXfrm>
    </dsp:sp>
    <dsp:sp modelId="{6BFABF5A-B274-4396-8804-F336A95787D1}">
      <dsp:nvSpPr>
        <dsp:cNvPr id="0" name=""/>
        <dsp:cNvSpPr/>
      </dsp:nvSpPr>
      <dsp:spPr>
        <a:xfrm>
          <a:off x="8402152" y="3548540"/>
          <a:ext cx="1527443" cy="916466"/>
        </a:xfrm>
        <a:prstGeom prst="rect">
          <a:avLst/>
        </a:prstGeom>
        <a:solidFill>
          <a:schemeClr val="accent5">
            <a:hueOff val="-7900229"/>
            <a:satOff val="-20750"/>
            <a:lumOff val="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Valet Key Pattern</a:t>
          </a:r>
          <a:endParaRPr lang="en-US" sz="1200" b="1" kern="1200" dirty="0"/>
        </a:p>
      </dsp:txBody>
      <dsp:txXfrm>
        <a:off x="8402152" y="3548540"/>
        <a:ext cx="1527443" cy="916466"/>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2669E78D-544C-43C4-9030-49D356EF044F}">
      <dsp:nvSpPr>
        <dsp:cNvPr id="0" name=""/>
        <dsp:cNvSpPr/>
      </dsp:nvSpPr>
      <dsp:spPr>
        <a:xfrm>
          <a:off x="0" y="239223"/>
          <a:ext cx="10483701" cy="8505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Load data on demand into a cache from a data store. This pattern can improve </a:t>
          </a:r>
          <a:r>
            <a:rPr lang="en-US" sz="1200" kern="1200" dirty="0" smtClean="0"/>
            <a:t>performance and also helps to maintain consistency between data held in the cache and the data in the underlying data store</a:t>
          </a:r>
          <a:endParaRPr lang="en-US" sz="1200" kern="1200" dirty="0"/>
        </a:p>
      </dsp:txBody>
      <dsp:txXfrm>
        <a:off x="0" y="239223"/>
        <a:ext cx="10483701" cy="850500"/>
      </dsp:txXfrm>
    </dsp:sp>
    <dsp:sp modelId="{E6718583-D808-47FB-8D2C-F34D7737876D}">
      <dsp:nvSpPr>
        <dsp:cNvPr id="0" name=""/>
        <dsp:cNvSpPr/>
      </dsp:nvSpPr>
      <dsp:spPr>
        <a:xfrm>
          <a:off x="524185" y="62103"/>
          <a:ext cx="7338590" cy="35424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rtl="0">
            <a:lnSpc>
              <a:spcPct val="90000"/>
            </a:lnSpc>
            <a:spcBef>
              <a:spcPct val="0"/>
            </a:spcBef>
            <a:spcAft>
              <a:spcPct val="35000"/>
            </a:spcAft>
          </a:pPr>
          <a:r>
            <a:rPr lang="en-US" sz="1200" kern="1200" dirty="0" smtClean="0"/>
            <a:t> Cache-aside</a:t>
          </a:r>
          <a:endParaRPr lang="en-US" sz="1200" kern="1200" dirty="0"/>
        </a:p>
      </dsp:txBody>
      <dsp:txXfrm>
        <a:off x="524185" y="62103"/>
        <a:ext cx="7338590" cy="354240"/>
      </dsp:txXfrm>
    </dsp:sp>
    <dsp:sp modelId="{F2420F4F-7ECF-4E1D-B8F8-2EC15814DDC6}">
      <dsp:nvSpPr>
        <dsp:cNvPr id="0" name=""/>
        <dsp:cNvSpPr/>
      </dsp:nvSpPr>
      <dsp:spPr>
        <a:xfrm>
          <a:off x="0" y="1331644"/>
          <a:ext cx="10483701" cy="850500"/>
        </a:xfrm>
        <a:prstGeom prst="rect">
          <a:avLst/>
        </a:prstGeom>
        <a:solidFill>
          <a:schemeClr val="lt1">
            <a:alpha val="90000"/>
            <a:hueOff val="0"/>
            <a:satOff val="0"/>
            <a:lumOff val="0"/>
            <a:alphaOff val="0"/>
          </a:schemeClr>
        </a:solidFill>
        <a:ln w="25400" cap="flat" cmpd="sng" algn="ctr">
          <a:solidFill>
            <a:schemeClr val="accent5">
              <a:hueOff val="-2633410"/>
              <a:satOff val="-6917"/>
              <a:lumOff val="85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Handle faults that may take a variable amount of time to rectify when connecting to a </a:t>
          </a:r>
          <a:r>
            <a:rPr lang="en-US" sz="1200" kern="1200" dirty="0" smtClean="0"/>
            <a:t>remote service or resource. This pattern can improve the stability and resiliency of an application</a:t>
          </a:r>
          <a:endParaRPr lang="en-US" sz="1200" kern="1200" dirty="0"/>
        </a:p>
      </dsp:txBody>
      <dsp:txXfrm>
        <a:off x="0" y="1331644"/>
        <a:ext cx="10483701" cy="850500"/>
      </dsp:txXfrm>
    </dsp:sp>
    <dsp:sp modelId="{E4145E15-B1FB-47EC-ABE8-F7C21388DAFC}">
      <dsp:nvSpPr>
        <dsp:cNvPr id="0" name=""/>
        <dsp:cNvSpPr/>
      </dsp:nvSpPr>
      <dsp:spPr>
        <a:xfrm>
          <a:off x="524185" y="1154524"/>
          <a:ext cx="7338590" cy="354240"/>
        </a:xfrm>
        <a:prstGeom prst="roundRect">
          <a:avLst/>
        </a:prstGeom>
        <a:solidFill>
          <a:schemeClr val="accent5">
            <a:hueOff val="-2633410"/>
            <a:satOff val="-6917"/>
            <a:lumOff val="8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a:lnSpc>
              <a:spcPct val="90000"/>
            </a:lnSpc>
            <a:spcBef>
              <a:spcPct val="0"/>
            </a:spcBef>
            <a:spcAft>
              <a:spcPct val="35000"/>
            </a:spcAft>
          </a:pPr>
          <a:r>
            <a:rPr lang="en-US" sz="1200" kern="1200" dirty="0" smtClean="0"/>
            <a:t> Circuit Breaker</a:t>
          </a:r>
          <a:endParaRPr lang="en-US" sz="1200" kern="1200" dirty="0"/>
        </a:p>
      </dsp:txBody>
      <dsp:txXfrm>
        <a:off x="524185" y="1154524"/>
        <a:ext cx="7338590" cy="354240"/>
      </dsp:txXfrm>
    </dsp:sp>
    <dsp:sp modelId="{04781E90-8B4B-487F-BFE5-D2B742903529}">
      <dsp:nvSpPr>
        <dsp:cNvPr id="0" name=""/>
        <dsp:cNvSpPr/>
      </dsp:nvSpPr>
      <dsp:spPr>
        <a:xfrm>
          <a:off x="0" y="2424064"/>
          <a:ext cx="10483701" cy="1001700"/>
        </a:xfrm>
        <a:prstGeom prst="rect">
          <a:avLst/>
        </a:prstGeom>
        <a:solidFill>
          <a:schemeClr val="lt1">
            <a:alpha val="90000"/>
            <a:hueOff val="0"/>
            <a:satOff val="0"/>
            <a:lumOff val="0"/>
            <a:alphaOff val="0"/>
          </a:schemeClr>
        </a:solidFill>
        <a:ln w="25400" cap="flat" cmpd="sng" algn="ctr">
          <a:solidFill>
            <a:schemeClr val="accent5">
              <a:hueOff val="-5266820"/>
              <a:satOff val="-13833"/>
              <a:lumOff val="169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Undo the work performed by a series of steps, which together define an eventually </a:t>
          </a:r>
          <a:r>
            <a:rPr lang="en-US" sz="1200" kern="1200" dirty="0" smtClean="0"/>
            <a:t>consistent operation, if one or more of the operations fails. Operations that follow the eventual consistency model are commonly found in cloud-hosted applications that implement complex business processes and workflows</a:t>
          </a:r>
          <a:endParaRPr lang="en-US" sz="1200" kern="1200" dirty="0"/>
        </a:p>
      </dsp:txBody>
      <dsp:txXfrm>
        <a:off x="0" y="2424064"/>
        <a:ext cx="10483701" cy="1001700"/>
      </dsp:txXfrm>
    </dsp:sp>
    <dsp:sp modelId="{08A91DD1-C522-4E87-9941-526DD847D7AA}">
      <dsp:nvSpPr>
        <dsp:cNvPr id="0" name=""/>
        <dsp:cNvSpPr/>
      </dsp:nvSpPr>
      <dsp:spPr>
        <a:xfrm>
          <a:off x="524185" y="2246944"/>
          <a:ext cx="7338590" cy="354240"/>
        </a:xfrm>
        <a:prstGeom prst="roundRect">
          <a:avLst/>
        </a:prstGeom>
        <a:solidFill>
          <a:schemeClr val="accent5">
            <a:hueOff val="-5266820"/>
            <a:satOff val="-13833"/>
            <a:lumOff val="169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a:lnSpc>
              <a:spcPct val="90000"/>
            </a:lnSpc>
            <a:spcBef>
              <a:spcPct val="0"/>
            </a:spcBef>
            <a:spcAft>
              <a:spcPct val="35000"/>
            </a:spcAft>
          </a:pPr>
          <a:r>
            <a:rPr lang="en-US" sz="1200" kern="1200" dirty="0" smtClean="0"/>
            <a:t> Compensating Transaction</a:t>
          </a:r>
          <a:endParaRPr lang="en-US" sz="1200" kern="1200" dirty="0"/>
        </a:p>
      </dsp:txBody>
      <dsp:txXfrm>
        <a:off x="524185" y="2246944"/>
        <a:ext cx="7338590" cy="354240"/>
      </dsp:txXfrm>
    </dsp:sp>
    <dsp:sp modelId="{0B5EFAC6-75B6-4564-8071-F0B5C4D133BA}">
      <dsp:nvSpPr>
        <dsp:cNvPr id="0" name=""/>
        <dsp:cNvSpPr/>
      </dsp:nvSpPr>
      <dsp:spPr>
        <a:xfrm>
          <a:off x="0" y="3667684"/>
          <a:ext cx="10483701" cy="1001700"/>
        </a:xfrm>
        <a:prstGeom prst="rect">
          <a:avLst/>
        </a:prstGeom>
        <a:solidFill>
          <a:schemeClr val="lt1">
            <a:alpha val="90000"/>
            <a:hueOff val="0"/>
            <a:satOff val="0"/>
            <a:lumOff val="0"/>
            <a:alphaOff val="0"/>
          </a:schemeClr>
        </a:solidFill>
        <a:ln w="25400" cap="flat" cmpd="sng" algn="ctr">
          <a:solidFill>
            <a:schemeClr val="accent5">
              <a:hueOff val="-7900229"/>
              <a:satOff val="-20750"/>
              <a:lumOff val="254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Enable multiple concurrent consumers to process messages received on the same </a:t>
          </a:r>
          <a:r>
            <a:rPr lang="en-US" sz="1200" kern="1200" dirty="0" smtClean="0"/>
            <a:t>messaging channel. This pattern enables a system to process multiple messages concurrently to optimize throughput, to improve scalability and availability, and to balance the workload</a:t>
          </a:r>
          <a:endParaRPr lang="en-US" sz="1200" kern="1200" dirty="0"/>
        </a:p>
      </dsp:txBody>
      <dsp:txXfrm>
        <a:off x="0" y="3667684"/>
        <a:ext cx="10483701" cy="1001700"/>
      </dsp:txXfrm>
    </dsp:sp>
    <dsp:sp modelId="{C67FC09D-DA46-40EF-8AC5-78CD1AA16E5E}">
      <dsp:nvSpPr>
        <dsp:cNvPr id="0" name=""/>
        <dsp:cNvSpPr/>
      </dsp:nvSpPr>
      <dsp:spPr>
        <a:xfrm>
          <a:off x="524185" y="3479929"/>
          <a:ext cx="7338590" cy="354240"/>
        </a:xfrm>
        <a:prstGeom prst="roundRect">
          <a:avLst/>
        </a:prstGeom>
        <a:solidFill>
          <a:schemeClr val="accent5">
            <a:hueOff val="-7900229"/>
            <a:satOff val="-20750"/>
            <a:lumOff val="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a:lnSpc>
              <a:spcPct val="90000"/>
            </a:lnSpc>
            <a:spcBef>
              <a:spcPct val="0"/>
            </a:spcBef>
            <a:spcAft>
              <a:spcPct val="35000"/>
            </a:spcAft>
          </a:pPr>
          <a:r>
            <a:rPr lang="en-US" sz="1200" kern="1200" dirty="0" smtClean="0"/>
            <a:t> Competing Consumers</a:t>
          </a:r>
        </a:p>
      </dsp:txBody>
      <dsp:txXfrm>
        <a:off x="524185" y="3479929"/>
        <a:ext cx="7338590" cy="354240"/>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9F375BB-D8C5-4483-9229-666B1987BE8B}">
      <dsp:nvSpPr>
        <dsp:cNvPr id="0" name=""/>
        <dsp:cNvSpPr/>
      </dsp:nvSpPr>
      <dsp:spPr>
        <a:xfrm>
          <a:off x="0" y="347133"/>
          <a:ext cx="10483701" cy="779625"/>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29108" rIns="813652" bIns="78232" numCol="1" spcCol="1270" anchor="t" anchorCtr="0">
          <a:noAutofit/>
        </a:bodyPr>
        <a:lstStyle/>
        <a:p>
          <a:pPr marL="57150" lvl="1" indent="-57150" algn="l" defTabSz="488950">
            <a:lnSpc>
              <a:spcPct val="90000"/>
            </a:lnSpc>
            <a:spcBef>
              <a:spcPct val="0"/>
            </a:spcBef>
            <a:spcAft>
              <a:spcPct val="15000"/>
            </a:spcAft>
            <a:buChar char="••"/>
          </a:pPr>
          <a:endParaRPr lang="en-US" sz="1100" kern="1200" dirty="0"/>
        </a:p>
        <a:p>
          <a:pPr marL="57150" lvl="1" indent="-57150" algn="l" defTabSz="488950">
            <a:lnSpc>
              <a:spcPct val="90000"/>
            </a:lnSpc>
            <a:spcBef>
              <a:spcPct val="0"/>
            </a:spcBef>
            <a:spcAft>
              <a:spcPct val="15000"/>
            </a:spcAft>
            <a:buChar char="••"/>
          </a:pPr>
          <a:r>
            <a:rPr lang="en-US" sz="1100" kern="1200" dirty="0"/>
            <a:t>Consolidate multiple tasks or operations into a single computational unit. This pattern </a:t>
          </a:r>
          <a:r>
            <a:rPr lang="en-US" sz="1100" kern="1200" dirty="0" smtClean="0"/>
            <a:t>can increase compute resource utilization, and reduce the costs and management overhead associated with performing compute processing in cloud-hosted applications</a:t>
          </a:r>
          <a:endParaRPr lang="en-US" sz="1100" kern="1200" dirty="0"/>
        </a:p>
      </dsp:txBody>
      <dsp:txXfrm>
        <a:off x="0" y="347133"/>
        <a:ext cx="10483701" cy="779625"/>
      </dsp:txXfrm>
    </dsp:sp>
    <dsp:sp modelId="{21981FDC-5ABB-411A-BE3D-8D1A1ADA4228}">
      <dsp:nvSpPr>
        <dsp:cNvPr id="0" name=""/>
        <dsp:cNvSpPr/>
      </dsp:nvSpPr>
      <dsp:spPr>
        <a:xfrm>
          <a:off x="524185" y="184773"/>
          <a:ext cx="7338590" cy="32472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488950" rtl="0">
            <a:lnSpc>
              <a:spcPct val="90000"/>
            </a:lnSpc>
            <a:spcBef>
              <a:spcPct val="0"/>
            </a:spcBef>
            <a:spcAft>
              <a:spcPct val="35000"/>
            </a:spcAft>
          </a:pPr>
          <a:r>
            <a:rPr lang="en-US" sz="1100" kern="1200" dirty="0" smtClean="0"/>
            <a:t> Compute Resource Consolidation</a:t>
          </a:r>
          <a:endParaRPr lang="en-US" sz="1100" kern="1200" dirty="0"/>
        </a:p>
      </dsp:txBody>
      <dsp:txXfrm>
        <a:off x="524185" y="184773"/>
        <a:ext cx="7338590" cy="324720"/>
      </dsp:txXfrm>
    </dsp:sp>
    <dsp:sp modelId="{219FBB2B-8E02-44BE-A3EF-C48B1EFA262D}">
      <dsp:nvSpPr>
        <dsp:cNvPr id="0" name=""/>
        <dsp:cNvSpPr/>
      </dsp:nvSpPr>
      <dsp:spPr>
        <a:xfrm>
          <a:off x="0" y="1348519"/>
          <a:ext cx="10483701" cy="918225"/>
        </a:xfrm>
        <a:prstGeom prst="rect">
          <a:avLst/>
        </a:prstGeom>
        <a:solidFill>
          <a:schemeClr val="lt1">
            <a:alpha val="90000"/>
            <a:hueOff val="0"/>
            <a:satOff val="0"/>
            <a:lumOff val="0"/>
            <a:alphaOff val="0"/>
          </a:schemeClr>
        </a:solidFill>
        <a:ln w="25400" cap="flat" cmpd="sng" algn="ctr">
          <a:solidFill>
            <a:schemeClr val="accent5">
              <a:hueOff val="-2633410"/>
              <a:satOff val="-6917"/>
              <a:lumOff val="85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29108" rIns="813652" bIns="78232" numCol="1" spcCol="1270" anchor="t" anchorCtr="0">
          <a:noAutofit/>
        </a:bodyPr>
        <a:lstStyle/>
        <a:p>
          <a:pPr marL="57150" lvl="1" indent="-57150" algn="l" defTabSz="488950">
            <a:lnSpc>
              <a:spcPct val="90000"/>
            </a:lnSpc>
            <a:spcBef>
              <a:spcPct val="0"/>
            </a:spcBef>
            <a:spcAft>
              <a:spcPct val="15000"/>
            </a:spcAft>
            <a:buChar char="••"/>
          </a:pPr>
          <a:endParaRPr lang="en-US" sz="1100" kern="1200" dirty="0"/>
        </a:p>
        <a:p>
          <a:pPr marL="57150" lvl="1" indent="-57150" algn="l" defTabSz="488950">
            <a:lnSpc>
              <a:spcPct val="90000"/>
            </a:lnSpc>
            <a:spcBef>
              <a:spcPct val="0"/>
            </a:spcBef>
            <a:spcAft>
              <a:spcPct val="15000"/>
            </a:spcAft>
            <a:buChar char="••"/>
          </a:pPr>
          <a:r>
            <a:rPr lang="en-US" sz="1100" kern="1200" dirty="0"/>
            <a:t>Segregate operations that read data from operations that update data by using </a:t>
          </a:r>
          <a:r>
            <a:rPr lang="en-US" sz="1100" kern="1200" dirty="0" smtClean="0"/>
            <a:t>separate interfaces. This pattern can maximize performance, scalability, and security; support evolution of the system over time through higher flexibility; and prevent update commands from causing merge conflicts at the domain level</a:t>
          </a:r>
          <a:endParaRPr lang="en-US" sz="1100" kern="1200" dirty="0"/>
        </a:p>
      </dsp:txBody>
      <dsp:txXfrm>
        <a:off x="0" y="1348519"/>
        <a:ext cx="10483701" cy="918225"/>
      </dsp:txXfrm>
    </dsp:sp>
    <dsp:sp modelId="{C1AEBFB2-6F48-4E21-87C9-540BBEBB2BF8}">
      <dsp:nvSpPr>
        <dsp:cNvPr id="0" name=""/>
        <dsp:cNvSpPr/>
      </dsp:nvSpPr>
      <dsp:spPr>
        <a:xfrm>
          <a:off x="524185" y="1186158"/>
          <a:ext cx="7338590" cy="324720"/>
        </a:xfrm>
        <a:prstGeom prst="roundRect">
          <a:avLst/>
        </a:prstGeom>
        <a:solidFill>
          <a:schemeClr val="accent5">
            <a:hueOff val="-2633410"/>
            <a:satOff val="-6917"/>
            <a:lumOff val="8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488950">
            <a:lnSpc>
              <a:spcPct val="90000"/>
            </a:lnSpc>
            <a:spcBef>
              <a:spcPct val="0"/>
            </a:spcBef>
            <a:spcAft>
              <a:spcPct val="35000"/>
            </a:spcAft>
          </a:pPr>
          <a:r>
            <a:rPr lang="en-US" sz="1100" kern="1200" dirty="0" smtClean="0"/>
            <a:t> Command and Query Responsibility Segregation</a:t>
          </a:r>
          <a:endParaRPr lang="en-US" sz="1100" kern="1200" dirty="0"/>
        </a:p>
      </dsp:txBody>
      <dsp:txXfrm>
        <a:off x="524185" y="1186158"/>
        <a:ext cx="7338590" cy="324720"/>
      </dsp:txXfrm>
    </dsp:sp>
    <dsp:sp modelId="{8A25A5DE-9EF0-4A88-9F50-CEFCA011BAD0}">
      <dsp:nvSpPr>
        <dsp:cNvPr id="0" name=""/>
        <dsp:cNvSpPr/>
      </dsp:nvSpPr>
      <dsp:spPr>
        <a:xfrm>
          <a:off x="0" y="2488504"/>
          <a:ext cx="10483701" cy="1056825"/>
        </a:xfrm>
        <a:prstGeom prst="rect">
          <a:avLst/>
        </a:prstGeom>
        <a:solidFill>
          <a:schemeClr val="lt1">
            <a:alpha val="90000"/>
            <a:hueOff val="0"/>
            <a:satOff val="0"/>
            <a:lumOff val="0"/>
            <a:alphaOff val="0"/>
          </a:schemeClr>
        </a:solidFill>
        <a:ln w="25400" cap="flat" cmpd="sng" algn="ctr">
          <a:solidFill>
            <a:schemeClr val="accent5">
              <a:hueOff val="-5266820"/>
              <a:satOff val="-13833"/>
              <a:lumOff val="169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29108" rIns="813652" bIns="78232" numCol="1" spcCol="1270" anchor="t" anchorCtr="0">
          <a:noAutofit/>
        </a:bodyPr>
        <a:lstStyle/>
        <a:p>
          <a:pPr marL="57150" lvl="1" indent="-57150" algn="l" defTabSz="488950">
            <a:lnSpc>
              <a:spcPct val="90000"/>
            </a:lnSpc>
            <a:spcBef>
              <a:spcPct val="0"/>
            </a:spcBef>
            <a:spcAft>
              <a:spcPct val="15000"/>
            </a:spcAft>
            <a:buChar char="••"/>
          </a:pPr>
          <a:endParaRPr lang="en-US" sz="1100" kern="1200" dirty="0"/>
        </a:p>
        <a:p>
          <a:pPr marL="57150" lvl="1" indent="-57150" algn="l" defTabSz="488950">
            <a:lnSpc>
              <a:spcPct val="90000"/>
            </a:lnSpc>
            <a:spcBef>
              <a:spcPct val="0"/>
            </a:spcBef>
            <a:spcAft>
              <a:spcPct val="15000"/>
            </a:spcAft>
            <a:buChar char="••"/>
          </a:pPr>
          <a:r>
            <a:rPr lang="en-US" sz="1100" kern="1200" dirty="0"/>
            <a:t>Use an append-only store to record the full series of events that describe actions taken on </a:t>
          </a:r>
          <a:r>
            <a:rPr lang="en-US" sz="1100" kern="1200" dirty="0" smtClean="0"/>
            <a:t>data in a domain, rather than storing just the current state, so that the store can be used to materialize the domain objects. This pattern can simplify tasks in complex domains by avoiding the requirement to synchronize the data model and the business domain; improve performance, scalability, and responsiveness; provide consistency for transactional data; and maintain full audit trails and history that may enable compensating actions.</a:t>
          </a:r>
          <a:endParaRPr lang="en-US" sz="1100" kern="1200" dirty="0"/>
        </a:p>
      </dsp:txBody>
      <dsp:txXfrm>
        <a:off x="0" y="2488504"/>
        <a:ext cx="10483701" cy="1056825"/>
      </dsp:txXfrm>
    </dsp:sp>
    <dsp:sp modelId="{09672F9A-D135-411F-8623-4B3EB6CEA88A}">
      <dsp:nvSpPr>
        <dsp:cNvPr id="0" name=""/>
        <dsp:cNvSpPr/>
      </dsp:nvSpPr>
      <dsp:spPr>
        <a:xfrm>
          <a:off x="524185" y="2326143"/>
          <a:ext cx="7338590" cy="324720"/>
        </a:xfrm>
        <a:prstGeom prst="roundRect">
          <a:avLst/>
        </a:prstGeom>
        <a:solidFill>
          <a:schemeClr val="accent5">
            <a:hueOff val="-5266820"/>
            <a:satOff val="-13833"/>
            <a:lumOff val="169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488950">
            <a:lnSpc>
              <a:spcPct val="90000"/>
            </a:lnSpc>
            <a:spcBef>
              <a:spcPct val="0"/>
            </a:spcBef>
            <a:spcAft>
              <a:spcPct val="35000"/>
            </a:spcAft>
          </a:pPr>
          <a:r>
            <a:rPr lang="en-US" sz="1100" kern="1200" dirty="0" smtClean="0"/>
            <a:t> Event Sourcing</a:t>
          </a:r>
          <a:endParaRPr lang="en-US" sz="1100" kern="1200" dirty="0"/>
        </a:p>
      </dsp:txBody>
      <dsp:txXfrm>
        <a:off x="524185" y="2326143"/>
        <a:ext cx="7338590" cy="324720"/>
      </dsp:txXfrm>
    </dsp:sp>
    <dsp:sp modelId="{B9AF7D4E-5741-4510-A01A-1BD5421E9174}">
      <dsp:nvSpPr>
        <dsp:cNvPr id="0" name=""/>
        <dsp:cNvSpPr/>
      </dsp:nvSpPr>
      <dsp:spPr>
        <a:xfrm>
          <a:off x="0" y="3767089"/>
          <a:ext cx="10483701" cy="779625"/>
        </a:xfrm>
        <a:prstGeom prst="rect">
          <a:avLst/>
        </a:prstGeom>
        <a:solidFill>
          <a:schemeClr val="lt1">
            <a:alpha val="90000"/>
            <a:hueOff val="0"/>
            <a:satOff val="0"/>
            <a:lumOff val="0"/>
            <a:alphaOff val="0"/>
          </a:schemeClr>
        </a:solidFill>
        <a:ln w="25400" cap="flat" cmpd="sng" algn="ctr">
          <a:solidFill>
            <a:schemeClr val="accent5">
              <a:hueOff val="-7900229"/>
              <a:satOff val="-20750"/>
              <a:lumOff val="254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29108" rIns="813652" bIns="78232" numCol="1" spcCol="1270" anchor="t" anchorCtr="0">
          <a:noAutofit/>
        </a:bodyPr>
        <a:lstStyle/>
        <a:p>
          <a:pPr marL="57150" lvl="1" indent="-57150" algn="l" defTabSz="488950">
            <a:lnSpc>
              <a:spcPct val="90000"/>
            </a:lnSpc>
            <a:spcBef>
              <a:spcPct val="0"/>
            </a:spcBef>
            <a:spcAft>
              <a:spcPct val="15000"/>
            </a:spcAft>
            <a:buChar char="••"/>
          </a:pPr>
          <a:endParaRPr lang="en-US" sz="1100" kern="1200" dirty="0"/>
        </a:p>
        <a:p>
          <a:pPr marL="57150" lvl="1" indent="-57150" algn="l" defTabSz="488950">
            <a:lnSpc>
              <a:spcPct val="90000"/>
            </a:lnSpc>
            <a:spcBef>
              <a:spcPct val="0"/>
            </a:spcBef>
            <a:spcAft>
              <a:spcPct val="15000"/>
            </a:spcAft>
            <a:buChar char="••"/>
          </a:pPr>
          <a:r>
            <a:rPr lang="en-US" sz="1100" kern="1200" dirty="0"/>
            <a:t>Move configuration information out of the application deployment package to a </a:t>
          </a:r>
          <a:r>
            <a:rPr lang="en-US" sz="1100" kern="1200" dirty="0" smtClean="0"/>
            <a:t>centralized location. This pattern can provide opportunities for easier management and control of configuration data, and for sharing configuration data across applications and application instances.</a:t>
          </a:r>
          <a:endParaRPr lang="en-US" sz="1100" kern="1200" dirty="0"/>
        </a:p>
      </dsp:txBody>
      <dsp:txXfrm>
        <a:off x="0" y="3767089"/>
        <a:ext cx="10483701" cy="779625"/>
      </dsp:txXfrm>
    </dsp:sp>
    <dsp:sp modelId="{C9A61B2D-D319-463A-AFBE-88DE4735154E}">
      <dsp:nvSpPr>
        <dsp:cNvPr id="0" name=""/>
        <dsp:cNvSpPr/>
      </dsp:nvSpPr>
      <dsp:spPr>
        <a:xfrm>
          <a:off x="524185" y="3604729"/>
          <a:ext cx="7338590" cy="324720"/>
        </a:xfrm>
        <a:prstGeom prst="roundRect">
          <a:avLst/>
        </a:prstGeom>
        <a:solidFill>
          <a:schemeClr val="accent5">
            <a:hueOff val="-7900229"/>
            <a:satOff val="-20750"/>
            <a:lumOff val="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488950">
            <a:lnSpc>
              <a:spcPct val="90000"/>
            </a:lnSpc>
            <a:spcBef>
              <a:spcPct val="0"/>
            </a:spcBef>
            <a:spcAft>
              <a:spcPct val="35000"/>
            </a:spcAft>
          </a:pPr>
          <a:r>
            <a:rPr lang="en-US" sz="1100" kern="1200" dirty="0" smtClean="0"/>
            <a:t> External Configuration Store</a:t>
          </a:r>
        </a:p>
      </dsp:txBody>
      <dsp:txXfrm>
        <a:off x="524185" y="3604729"/>
        <a:ext cx="7338590" cy="324720"/>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4BB2DCF-41C8-49B8-8D82-DD4FB73B434A}">
      <dsp:nvSpPr>
        <dsp:cNvPr id="0" name=""/>
        <dsp:cNvSpPr/>
      </dsp:nvSpPr>
      <dsp:spPr>
        <a:xfrm>
          <a:off x="0" y="314823"/>
          <a:ext cx="10483701" cy="8505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Delegate authentication to an external identity provider. This pattern can </a:t>
          </a:r>
          <a:r>
            <a:rPr lang="en-US" sz="1200" kern="1200" dirty="0" smtClean="0"/>
            <a:t>simplify development, minimize the requirement for user administration, and improve the user experience of the application</a:t>
          </a:r>
          <a:endParaRPr lang="en-US" sz="1200" kern="1200" dirty="0"/>
        </a:p>
      </dsp:txBody>
      <dsp:txXfrm>
        <a:off x="0" y="314823"/>
        <a:ext cx="10483701" cy="850500"/>
      </dsp:txXfrm>
    </dsp:sp>
    <dsp:sp modelId="{16FBFE07-FC77-41E6-A699-6A973FB19374}">
      <dsp:nvSpPr>
        <dsp:cNvPr id="0" name=""/>
        <dsp:cNvSpPr/>
      </dsp:nvSpPr>
      <dsp:spPr>
        <a:xfrm>
          <a:off x="524185" y="137703"/>
          <a:ext cx="7338590" cy="35424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rtl="0">
            <a:lnSpc>
              <a:spcPct val="90000"/>
            </a:lnSpc>
            <a:spcBef>
              <a:spcPct val="0"/>
            </a:spcBef>
            <a:spcAft>
              <a:spcPct val="35000"/>
            </a:spcAft>
          </a:pPr>
          <a:r>
            <a:rPr lang="en-US" sz="1200" kern="1200" dirty="0" smtClean="0"/>
            <a:t> Federated Identity</a:t>
          </a:r>
          <a:endParaRPr lang="en-US" sz="1200" kern="1200" dirty="0"/>
        </a:p>
      </dsp:txBody>
      <dsp:txXfrm>
        <a:off x="524185" y="137703"/>
        <a:ext cx="7338590" cy="354240"/>
      </dsp:txXfrm>
    </dsp:sp>
    <dsp:sp modelId="{9C2B3909-4862-49C3-ABDE-FB168ABDAEAF}">
      <dsp:nvSpPr>
        <dsp:cNvPr id="0" name=""/>
        <dsp:cNvSpPr/>
      </dsp:nvSpPr>
      <dsp:spPr>
        <a:xfrm>
          <a:off x="0" y="1407243"/>
          <a:ext cx="10483701" cy="1001700"/>
        </a:xfrm>
        <a:prstGeom prst="rect">
          <a:avLst/>
        </a:prstGeom>
        <a:solidFill>
          <a:schemeClr val="lt1">
            <a:alpha val="90000"/>
            <a:hueOff val="0"/>
            <a:satOff val="0"/>
            <a:lumOff val="0"/>
            <a:alphaOff val="0"/>
          </a:schemeClr>
        </a:solidFill>
        <a:ln w="25400" cap="flat" cmpd="sng" algn="ctr">
          <a:solidFill>
            <a:schemeClr val="accent5">
              <a:hueOff val="-2633410"/>
              <a:satOff val="-6917"/>
              <a:lumOff val="85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Protect applications and services by using a dedicated host instance that acts as a </a:t>
          </a:r>
          <a:r>
            <a:rPr lang="en-US" sz="1200" kern="1200" dirty="0" smtClean="0"/>
            <a:t>broker between clients and the application or service, validates and sanitizes requests, and passes requests and data between them. This pattern can provide an additional layer of security, and limit the attack surface of the system</a:t>
          </a:r>
          <a:endParaRPr lang="en-US" sz="1200" kern="1200" dirty="0"/>
        </a:p>
      </dsp:txBody>
      <dsp:txXfrm>
        <a:off x="0" y="1407243"/>
        <a:ext cx="10483701" cy="1001700"/>
      </dsp:txXfrm>
    </dsp:sp>
    <dsp:sp modelId="{25F7318B-1ADE-43E7-ACEE-FFF987C4BC76}">
      <dsp:nvSpPr>
        <dsp:cNvPr id="0" name=""/>
        <dsp:cNvSpPr/>
      </dsp:nvSpPr>
      <dsp:spPr>
        <a:xfrm>
          <a:off x="524185" y="1230124"/>
          <a:ext cx="7338590" cy="354240"/>
        </a:xfrm>
        <a:prstGeom prst="roundRect">
          <a:avLst/>
        </a:prstGeom>
        <a:solidFill>
          <a:schemeClr val="accent5">
            <a:hueOff val="-2633410"/>
            <a:satOff val="-6917"/>
            <a:lumOff val="8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a:lnSpc>
              <a:spcPct val="90000"/>
            </a:lnSpc>
            <a:spcBef>
              <a:spcPct val="0"/>
            </a:spcBef>
            <a:spcAft>
              <a:spcPct val="35000"/>
            </a:spcAft>
          </a:pPr>
          <a:r>
            <a:rPr lang="en-US" sz="1200" kern="1200" dirty="0" smtClean="0"/>
            <a:t> Gatekeeper</a:t>
          </a:r>
          <a:endParaRPr lang="en-US" sz="1200" kern="1200" dirty="0"/>
        </a:p>
      </dsp:txBody>
      <dsp:txXfrm>
        <a:off x="524185" y="1230124"/>
        <a:ext cx="7338590" cy="354240"/>
      </dsp:txXfrm>
    </dsp:sp>
    <dsp:sp modelId="{F258ED91-5522-46AE-A618-918A375E826C}">
      <dsp:nvSpPr>
        <dsp:cNvPr id="0" name=""/>
        <dsp:cNvSpPr/>
      </dsp:nvSpPr>
      <dsp:spPr>
        <a:xfrm>
          <a:off x="0" y="2650864"/>
          <a:ext cx="10483701" cy="850500"/>
        </a:xfrm>
        <a:prstGeom prst="rect">
          <a:avLst/>
        </a:prstGeom>
        <a:solidFill>
          <a:schemeClr val="lt1">
            <a:alpha val="90000"/>
            <a:hueOff val="0"/>
            <a:satOff val="0"/>
            <a:lumOff val="0"/>
            <a:alphaOff val="0"/>
          </a:schemeClr>
        </a:solidFill>
        <a:ln w="25400" cap="flat" cmpd="sng" algn="ctr">
          <a:solidFill>
            <a:schemeClr val="accent5">
              <a:hueOff val="-5266820"/>
              <a:satOff val="-13833"/>
              <a:lumOff val="169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Implement functional checks within an application that external tools can access </a:t>
          </a:r>
          <a:r>
            <a:rPr lang="en-US" sz="1200" kern="1200" dirty="0" smtClean="0"/>
            <a:t>through exposed endpoints at regular intervals. This pattern can help to verify that applications and services are performing correctly.</a:t>
          </a:r>
          <a:endParaRPr lang="en-US" sz="1200" kern="1200" dirty="0"/>
        </a:p>
      </dsp:txBody>
      <dsp:txXfrm>
        <a:off x="0" y="2650864"/>
        <a:ext cx="10483701" cy="850500"/>
      </dsp:txXfrm>
    </dsp:sp>
    <dsp:sp modelId="{C0511A28-D88E-4125-9FEE-38EF910B7627}">
      <dsp:nvSpPr>
        <dsp:cNvPr id="0" name=""/>
        <dsp:cNvSpPr/>
      </dsp:nvSpPr>
      <dsp:spPr>
        <a:xfrm>
          <a:off x="524185" y="2473744"/>
          <a:ext cx="7338590" cy="354240"/>
        </a:xfrm>
        <a:prstGeom prst="roundRect">
          <a:avLst/>
        </a:prstGeom>
        <a:solidFill>
          <a:schemeClr val="accent5">
            <a:hueOff val="-5266820"/>
            <a:satOff val="-13833"/>
            <a:lumOff val="169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a:lnSpc>
              <a:spcPct val="90000"/>
            </a:lnSpc>
            <a:spcBef>
              <a:spcPct val="0"/>
            </a:spcBef>
            <a:spcAft>
              <a:spcPct val="35000"/>
            </a:spcAft>
          </a:pPr>
          <a:r>
            <a:rPr lang="en-US" sz="1200" kern="1200" dirty="0" smtClean="0"/>
            <a:t> Health</a:t>
          </a:r>
        </a:p>
        <a:p>
          <a:pPr lvl="0" algn="l" defTabSz="533400">
            <a:lnSpc>
              <a:spcPct val="90000"/>
            </a:lnSpc>
            <a:spcBef>
              <a:spcPct val="0"/>
            </a:spcBef>
            <a:spcAft>
              <a:spcPct val="35000"/>
            </a:spcAft>
          </a:pPr>
          <a:r>
            <a:rPr lang="en-US" sz="1200" kern="1200" dirty="0" smtClean="0"/>
            <a:t>Endpoint</a:t>
          </a:r>
        </a:p>
        <a:p>
          <a:pPr lvl="0" algn="l" defTabSz="533400">
            <a:lnSpc>
              <a:spcPct val="90000"/>
            </a:lnSpc>
            <a:spcBef>
              <a:spcPct val="0"/>
            </a:spcBef>
            <a:spcAft>
              <a:spcPct val="35000"/>
            </a:spcAft>
          </a:pPr>
          <a:r>
            <a:rPr lang="en-US" sz="1200" kern="1200" dirty="0" smtClean="0"/>
            <a:t>Monitoring</a:t>
          </a:r>
          <a:endParaRPr lang="en-US" sz="1200" kern="1200" dirty="0"/>
        </a:p>
      </dsp:txBody>
      <dsp:txXfrm>
        <a:off x="524185" y="2473744"/>
        <a:ext cx="7338590" cy="354240"/>
      </dsp:txXfrm>
    </dsp:sp>
    <dsp:sp modelId="{7E8E0CB4-A24E-4A4A-970D-DE24337AC90E}">
      <dsp:nvSpPr>
        <dsp:cNvPr id="0" name=""/>
        <dsp:cNvSpPr/>
      </dsp:nvSpPr>
      <dsp:spPr>
        <a:xfrm>
          <a:off x="0" y="3743284"/>
          <a:ext cx="10483701" cy="850500"/>
        </a:xfrm>
        <a:prstGeom prst="rect">
          <a:avLst/>
        </a:prstGeom>
        <a:solidFill>
          <a:schemeClr val="lt1">
            <a:alpha val="90000"/>
            <a:hueOff val="0"/>
            <a:satOff val="0"/>
            <a:lumOff val="0"/>
            <a:alphaOff val="0"/>
          </a:schemeClr>
        </a:solidFill>
        <a:ln w="25400" cap="flat" cmpd="sng" algn="ctr">
          <a:solidFill>
            <a:schemeClr val="accent5">
              <a:hueOff val="-7900229"/>
              <a:satOff val="-20750"/>
              <a:lumOff val="254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Create indexes over the fields in data stores that are frequently referenced by query criteria</a:t>
          </a:r>
          <a:r>
            <a:rPr lang="en-US" sz="1200" kern="1200" dirty="0" smtClean="0"/>
            <a:t>. This pattern can improve query performance by allowing applications to more quickly retrieve data from a data store.</a:t>
          </a:r>
          <a:endParaRPr lang="en-US" sz="1200" kern="1200" dirty="0"/>
        </a:p>
      </dsp:txBody>
      <dsp:txXfrm>
        <a:off x="0" y="3743284"/>
        <a:ext cx="10483701" cy="850500"/>
      </dsp:txXfrm>
    </dsp:sp>
    <dsp:sp modelId="{7049F348-B3BE-4EC7-816C-63255DB3F37E}">
      <dsp:nvSpPr>
        <dsp:cNvPr id="0" name=""/>
        <dsp:cNvSpPr/>
      </dsp:nvSpPr>
      <dsp:spPr>
        <a:xfrm>
          <a:off x="524185" y="3566164"/>
          <a:ext cx="7338590" cy="354240"/>
        </a:xfrm>
        <a:prstGeom prst="roundRect">
          <a:avLst/>
        </a:prstGeom>
        <a:solidFill>
          <a:schemeClr val="accent5">
            <a:hueOff val="-7900229"/>
            <a:satOff val="-20750"/>
            <a:lumOff val="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a:lnSpc>
              <a:spcPct val="90000"/>
            </a:lnSpc>
            <a:spcBef>
              <a:spcPct val="0"/>
            </a:spcBef>
            <a:spcAft>
              <a:spcPct val="35000"/>
            </a:spcAft>
          </a:pPr>
          <a:r>
            <a:rPr lang="en-US" sz="1200" kern="1200" dirty="0" smtClean="0"/>
            <a:t> Index Table</a:t>
          </a:r>
        </a:p>
      </dsp:txBody>
      <dsp:txXfrm>
        <a:off x="524185" y="3566164"/>
        <a:ext cx="7338590" cy="354240"/>
      </dsp:txXfrm>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319F0DF-579B-49B9-84B7-CB83306E7E83}">
      <dsp:nvSpPr>
        <dsp:cNvPr id="0" name=""/>
        <dsp:cNvSpPr/>
      </dsp:nvSpPr>
      <dsp:spPr>
        <a:xfrm>
          <a:off x="0" y="239223"/>
          <a:ext cx="10483701" cy="8505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managing the other instances. This pattern can help to ensure that tasks do not conflict </a:t>
          </a:r>
          <a:r>
            <a:rPr lang="en-US" sz="1200" kern="1200" dirty="0" smtClean="0"/>
            <a:t>with each other, cause contention for shared resources, or inadvertently interfere with the work that other task instances are performing.</a:t>
          </a:r>
          <a:endParaRPr lang="en-US" sz="1200" kern="1200" dirty="0"/>
        </a:p>
      </dsp:txBody>
      <dsp:txXfrm>
        <a:off x="0" y="239223"/>
        <a:ext cx="10483701" cy="850500"/>
      </dsp:txXfrm>
    </dsp:sp>
    <dsp:sp modelId="{9BA8F0CF-6646-4FE6-844A-33B5FBF25D2D}">
      <dsp:nvSpPr>
        <dsp:cNvPr id="0" name=""/>
        <dsp:cNvSpPr/>
      </dsp:nvSpPr>
      <dsp:spPr>
        <a:xfrm>
          <a:off x="524185" y="62103"/>
          <a:ext cx="7338590" cy="35424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rtl="0">
            <a:lnSpc>
              <a:spcPct val="90000"/>
            </a:lnSpc>
            <a:spcBef>
              <a:spcPct val="0"/>
            </a:spcBef>
            <a:spcAft>
              <a:spcPct val="35000"/>
            </a:spcAft>
          </a:pPr>
          <a:r>
            <a:rPr lang="en-US" sz="1200" kern="1200" dirty="0" smtClean="0"/>
            <a:t> Leader Election</a:t>
          </a:r>
          <a:endParaRPr lang="en-US" sz="1200" kern="1200" dirty="0"/>
        </a:p>
      </dsp:txBody>
      <dsp:txXfrm>
        <a:off x="524185" y="62103"/>
        <a:ext cx="7338590" cy="354240"/>
      </dsp:txXfrm>
    </dsp:sp>
    <dsp:sp modelId="{67F3DD5A-2165-4216-A029-0FAC59E15A7B}">
      <dsp:nvSpPr>
        <dsp:cNvPr id="0" name=""/>
        <dsp:cNvSpPr/>
      </dsp:nvSpPr>
      <dsp:spPr>
        <a:xfrm>
          <a:off x="0" y="1331644"/>
          <a:ext cx="10483701" cy="1001700"/>
        </a:xfrm>
        <a:prstGeom prst="rect">
          <a:avLst/>
        </a:prstGeom>
        <a:solidFill>
          <a:schemeClr val="lt1">
            <a:alpha val="90000"/>
            <a:hueOff val="0"/>
            <a:satOff val="0"/>
            <a:lumOff val="0"/>
            <a:alphaOff val="0"/>
          </a:schemeClr>
        </a:solidFill>
        <a:ln w="25400" cap="flat" cmpd="sng" algn="ctr">
          <a:solidFill>
            <a:schemeClr val="accent5">
              <a:hueOff val="-2633410"/>
              <a:satOff val="-6917"/>
              <a:lumOff val="85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Generate prepopulated views over the data in one or more data stores when the data </a:t>
          </a:r>
          <a:r>
            <a:rPr lang="en-US" sz="1200" kern="1200" dirty="0" smtClean="0"/>
            <a:t>is formatted in a way that does not favor the required query operations. This pattern can help to support efficient querying and data extraction, and improve application performance.</a:t>
          </a:r>
          <a:endParaRPr lang="en-US" sz="1200" kern="1200" dirty="0"/>
        </a:p>
      </dsp:txBody>
      <dsp:txXfrm>
        <a:off x="0" y="1331644"/>
        <a:ext cx="10483701" cy="1001700"/>
      </dsp:txXfrm>
    </dsp:sp>
    <dsp:sp modelId="{0967F748-8A99-4408-8474-09CBAAC13B03}">
      <dsp:nvSpPr>
        <dsp:cNvPr id="0" name=""/>
        <dsp:cNvSpPr/>
      </dsp:nvSpPr>
      <dsp:spPr>
        <a:xfrm>
          <a:off x="524185" y="1154524"/>
          <a:ext cx="7338590" cy="354240"/>
        </a:xfrm>
        <a:prstGeom prst="roundRect">
          <a:avLst/>
        </a:prstGeom>
        <a:solidFill>
          <a:schemeClr val="accent5">
            <a:hueOff val="-2633410"/>
            <a:satOff val="-6917"/>
            <a:lumOff val="8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a:lnSpc>
              <a:spcPct val="90000"/>
            </a:lnSpc>
            <a:spcBef>
              <a:spcPct val="0"/>
            </a:spcBef>
            <a:spcAft>
              <a:spcPct val="35000"/>
            </a:spcAft>
          </a:pPr>
          <a:r>
            <a:rPr lang="en-US" sz="1200" kern="1200" dirty="0" smtClean="0"/>
            <a:t> Materialized View</a:t>
          </a:r>
          <a:endParaRPr lang="en-US" sz="1200" kern="1200" dirty="0"/>
        </a:p>
      </dsp:txBody>
      <dsp:txXfrm>
        <a:off x="524185" y="1154524"/>
        <a:ext cx="7338590" cy="354240"/>
      </dsp:txXfrm>
    </dsp:sp>
    <dsp:sp modelId="{7800C582-D28D-4F46-AD38-67E997E9297C}">
      <dsp:nvSpPr>
        <dsp:cNvPr id="0" name=""/>
        <dsp:cNvSpPr/>
      </dsp:nvSpPr>
      <dsp:spPr>
        <a:xfrm>
          <a:off x="0" y="2575264"/>
          <a:ext cx="10483701" cy="1001700"/>
        </a:xfrm>
        <a:prstGeom prst="rect">
          <a:avLst/>
        </a:prstGeom>
        <a:solidFill>
          <a:schemeClr val="lt1">
            <a:alpha val="90000"/>
            <a:hueOff val="0"/>
            <a:satOff val="0"/>
            <a:lumOff val="0"/>
            <a:alphaOff val="0"/>
          </a:schemeClr>
        </a:solidFill>
        <a:ln w="25400" cap="flat" cmpd="sng" algn="ctr">
          <a:solidFill>
            <a:schemeClr val="accent5">
              <a:hueOff val="-5266820"/>
              <a:satOff val="-13833"/>
              <a:lumOff val="169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Decompose a task that performs complex processing into a series of discrete elements that </a:t>
          </a:r>
          <a:r>
            <a:rPr lang="en-US" sz="1200" kern="1200" dirty="0" smtClean="0"/>
            <a:t>can be reused. This pattern can improve performance, scalability, and reusability by allowing task elements that perform the processing to be deployed and scaled independently.</a:t>
          </a:r>
          <a:endParaRPr lang="en-US" sz="1200" kern="1200" dirty="0"/>
        </a:p>
      </dsp:txBody>
      <dsp:txXfrm>
        <a:off x="0" y="2575264"/>
        <a:ext cx="10483701" cy="1001700"/>
      </dsp:txXfrm>
    </dsp:sp>
    <dsp:sp modelId="{D62BADAB-AC96-4E39-8010-FEDA510B07C1}">
      <dsp:nvSpPr>
        <dsp:cNvPr id="0" name=""/>
        <dsp:cNvSpPr/>
      </dsp:nvSpPr>
      <dsp:spPr>
        <a:xfrm>
          <a:off x="524185" y="2398144"/>
          <a:ext cx="7338590" cy="354240"/>
        </a:xfrm>
        <a:prstGeom prst="roundRect">
          <a:avLst/>
        </a:prstGeom>
        <a:solidFill>
          <a:schemeClr val="accent5">
            <a:hueOff val="-5266820"/>
            <a:satOff val="-13833"/>
            <a:lumOff val="169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a:lnSpc>
              <a:spcPct val="90000"/>
            </a:lnSpc>
            <a:spcBef>
              <a:spcPct val="0"/>
            </a:spcBef>
            <a:spcAft>
              <a:spcPct val="35000"/>
            </a:spcAft>
          </a:pPr>
          <a:r>
            <a:rPr lang="en-US" sz="1200" kern="1200" dirty="0" smtClean="0"/>
            <a:t> Pipes and Filters</a:t>
          </a:r>
          <a:endParaRPr lang="en-US" sz="1200" kern="1200" dirty="0"/>
        </a:p>
      </dsp:txBody>
      <dsp:txXfrm>
        <a:off x="524185" y="2398144"/>
        <a:ext cx="7338590" cy="354240"/>
      </dsp:txXfrm>
    </dsp:sp>
    <dsp:sp modelId="{AF3852BD-9388-481F-97F5-2037FAF4C0C8}">
      <dsp:nvSpPr>
        <dsp:cNvPr id="0" name=""/>
        <dsp:cNvSpPr/>
      </dsp:nvSpPr>
      <dsp:spPr>
        <a:xfrm>
          <a:off x="0" y="3818884"/>
          <a:ext cx="10483701" cy="850500"/>
        </a:xfrm>
        <a:prstGeom prst="rect">
          <a:avLst/>
        </a:prstGeom>
        <a:solidFill>
          <a:schemeClr val="lt1">
            <a:alpha val="90000"/>
            <a:hueOff val="0"/>
            <a:satOff val="0"/>
            <a:lumOff val="0"/>
            <a:alphaOff val="0"/>
          </a:schemeClr>
        </a:solidFill>
        <a:ln w="25400" cap="flat" cmpd="sng" algn="ctr">
          <a:solidFill>
            <a:schemeClr val="accent5">
              <a:hueOff val="-7900229"/>
              <a:satOff val="-20750"/>
              <a:lumOff val="254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Prioritize requests sent to services so that requests with a higher priority are received </a:t>
          </a:r>
          <a:r>
            <a:rPr lang="en-US" sz="1200" kern="1200" dirty="0" smtClean="0"/>
            <a:t>and processed more quickly than those of a lower priority. This pattern is useful in applications that offer different service level guarantees to individual types of client</a:t>
          </a:r>
          <a:endParaRPr lang="en-US" sz="1200" kern="1200" dirty="0"/>
        </a:p>
      </dsp:txBody>
      <dsp:txXfrm>
        <a:off x="0" y="3818884"/>
        <a:ext cx="10483701" cy="850500"/>
      </dsp:txXfrm>
    </dsp:sp>
    <dsp:sp modelId="{45FD41E3-C30D-4DF7-A776-E2B376CC76CE}">
      <dsp:nvSpPr>
        <dsp:cNvPr id="0" name=""/>
        <dsp:cNvSpPr/>
      </dsp:nvSpPr>
      <dsp:spPr>
        <a:xfrm>
          <a:off x="524185" y="3641764"/>
          <a:ext cx="7338590" cy="354240"/>
        </a:xfrm>
        <a:prstGeom prst="roundRect">
          <a:avLst/>
        </a:prstGeom>
        <a:solidFill>
          <a:schemeClr val="accent5">
            <a:hueOff val="-7900229"/>
            <a:satOff val="-20750"/>
            <a:lumOff val="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a:lnSpc>
              <a:spcPct val="90000"/>
            </a:lnSpc>
            <a:spcBef>
              <a:spcPct val="0"/>
            </a:spcBef>
            <a:spcAft>
              <a:spcPct val="35000"/>
            </a:spcAft>
          </a:pPr>
          <a:r>
            <a:rPr lang="en-US" sz="1200" kern="1200" dirty="0" smtClean="0"/>
            <a:t> Priority Queue</a:t>
          </a:r>
        </a:p>
      </dsp:txBody>
      <dsp:txXfrm>
        <a:off x="524185" y="3641764"/>
        <a:ext cx="7338590" cy="354240"/>
      </dsp:txXfrm>
    </dsp:sp>
  </dsp:spTree>
</dsp:drawing>
</file>

<file path=ppt/diagrams/drawing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F3AC11-2E12-4C47-8B58-827700ED806C}">
      <dsp:nvSpPr>
        <dsp:cNvPr id="0" name=""/>
        <dsp:cNvSpPr/>
      </dsp:nvSpPr>
      <dsp:spPr>
        <a:xfrm>
          <a:off x="0" y="416434"/>
          <a:ext cx="10483701" cy="918225"/>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29108" rIns="813652" bIns="78232" numCol="1" spcCol="1270" anchor="t" anchorCtr="0">
          <a:noAutofit/>
        </a:bodyPr>
        <a:lstStyle/>
        <a:p>
          <a:pPr marL="57150" lvl="1" indent="-57150" algn="l" defTabSz="488950">
            <a:lnSpc>
              <a:spcPct val="90000"/>
            </a:lnSpc>
            <a:spcBef>
              <a:spcPct val="0"/>
            </a:spcBef>
            <a:spcAft>
              <a:spcPct val="15000"/>
            </a:spcAft>
            <a:buChar char="••"/>
          </a:pPr>
          <a:endParaRPr lang="en-US" sz="1100" kern="1200" dirty="0"/>
        </a:p>
        <a:p>
          <a:pPr marL="57150" lvl="1" indent="-57150" algn="l" defTabSz="488950">
            <a:lnSpc>
              <a:spcPct val="90000"/>
            </a:lnSpc>
            <a:spcBef>
              <a:spcPct val="0"/>
            </a:spcBef>
            <a:spcAft>
              <a:spcPct val="15000"/>
            </a:spcAft>
            <a:buChar char="••"/>
          </a:pPr>
          <a:r>
            <a:rPr lang="en-US" sz="1100" kern="1200" dirty="0"/>
            <a:t>Use a queue that acts as a buffer between a task and a service that it invokes in order </a:t>
          </a:r>
          <a:r>
            <a:rPr lang="en-US" sz="1100" kern="1200" dirty="0" smtClean="0"/>
            <a:t>to smooth intermittent heavy loads that may otherwise cause the service to fail or the task to timeout. This pattern can help to minimize the impact of peaks in demand on availability and responsiveness for both the task and the service</a:t>
          </a:r>
          <a:endParaRPr lang="en-US" sz="1100" kern="1200" dirty="0"/>
        </a:p>
      </dsp:txBody>
      <dsp:txXfrm>
        <a:off x="0" y="416434"/>
        <a:ext cx="10483701" cy="918225"/>
      </dsp:txXfrm>
    </dsp:sp>
    <dsp:sp modelId="{C48FAAEF-316F-442F-831B-99898CA480EE}">
      <dsp:nvSpPr>
        <dsp:cNvPr id="0" name=""/>
        <dsp:cNvSpPr/>
      </dsp:nvSpPr>
      <dsp:spPr>
        <a:xfrm>
          <a:off x="524185" y="232804"/>
          <a:ext cx="7338590" cy="32472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488950" rtl="0">
            <a:lnSpc>
              <a:spcPct val="90000"/>
            </a:lnSpc>
            <a:spcBef>
              <a:spcPct val="0"/>
            </a:spcBef>
            <a:spcAft>
              <a:spcPct val="35000"/>
            </a:spcAft>
          </a:pPr>
          <a:r>
            <a:rPr lang="en-US" sz="1100" kern="1200" dirty="0" smtClean="0"/>
            <a:t> Queue-based Load Leveling</a:t>
          </a:r>
          <a:endParaRPr lang="en-US" sz="1100" kern="1200" dirty="0"/>
        </a:p>
      </dsp:txBody>
      <dsp:txXfrm>
        <a:off x="524185" y="232804"/>
        <a:ext cx="7338590" cy="324720"/>
      </dsp:txXfrm>
    </dsp:sp>
    <dsp:sp modelId="{FA535823-8E65-4FAB-95E9-3E1412AEA286}">
      <dsp:nvSpPr>
        <dsp:cNvPr id="0" name=""/>
        <dsp:cNvSpPr/>
      </dsp:nvSpPr>
      <dsp:spPr>
        <a:xfrm>
          <a:off x="0" y="1556419"/>
          <a:ext cx="10483701" cy="779625"/>
        </a:xfrm>
        <a:prstGeom prst="rect">
          <a:avLst/>
        </a:prstGeom>
        <a:solidFill>
          <a:schemeClr val="lt1">
            <a:alpha val="90000"/>
            <a:hueOff val="0"/>
            <a:satOff val="0"/>
            <a:lumOff val="0"/>
            <a:alphaOff val="0"/>
          </a:schemeClr>
        </a:solidFill>
        <a:ln w="25400" cap="flat" cmpd="sng" algn="ctr">
          <a:solidFill>
            <a:schemeClr val="accent5">
              <a:hueOff val="-2633410"/>
              <a:satOff val="-6917"/>
              <a:lumOff val="85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29108" rIns="813652" bIns="78232" numCol="1" spcCol="1270" anchor="t" anchorCtr="0">
          <a:noAutofit/>
        </a:bodyPr>
        <a:lstStyle/>
        <a:p>
          <a:pPr marL="57150" lvl="1" indent="-57150" algn="l" defTabSz="488950">
            <a:lnSpc>
              <a:spcPct val="90000"/>
            </a:lnSpc>
            <a:spcBef>
              <a:spcPct val="0"/>
            </a:spcBef>
            <a:spcAft>
              <a:spcPct val="15000"/>
            </a:spcAft>
            <a:buChar char="••"/>
          </a:pPr>
          <a:endParaRPr lang="en-US" sz="1100" kern="1200" dirty="0"/>
        </a:p>
        <a:p>
          <a:pPr marL="57150" lvl="1" indent="-57150" algn="l" defTabSz="488950">
            <a:lnSpc>
              <a:spcPct val="90000"/>
            </a:lnSpc>
            <a:spcBef>
              <a:spcPct val="0"/>
            </a:spcBef>
            <a:spcAft>
              <a:spcPct val="15000"/>
            </a:spcAft>
            <a:buChar char="••"/>
          </a:pPr>
          <a:r>
            <a:rPr lang="en-US" sz="1100" kern="1200" dirty="0"/>
            <a:t>Enable an application to handle temporary failures when connecting to a service or </a:t>
          </a:r>
          <a:r>
            <a:rPr lang="en-US" sz="1100" kern="1200" dirty="0" smtClean="0"/>
            <a:t>network resource by transparently retrying the operation in the expectation that the failure is transient. This pattern can improve the stability of the application.</a:t>
          </a:r>
          <a:endParaRPr lang="en-US" sz="1100" kern="1200" dirty="0"/>
        </a:p>
      </dsp:txBody>
      <dsp:txXfrm>
        <a:off x="0" y="1556419"/>
        <a:ext cx="10483701" cy="779625"/>
      </dsp:txXfrm>
    </dsp:sp>
    <dsp:sp modelId="{8BE8B1BA-53F8-46A6-A814-18C37C110FA0}">
      <dsp:nvSpPr>
        <dsp:cNvPr id="0" name=""/>
        <dsp:cNvSpPr/>
      </dsp:nvSpPr>
      <dsp:spPr>
        <a:xfrm>
          <a:off x="524185" y="1394059"/>
          <a:ext cx="7338590" cy="324720"/>
        </a:xfrm>
        <a:prstGeom prst="roundRect">
          <a:avLst/>
        </a:prstGeom>
        <a:solidFill>
          <a:schemeClr val="accent5">
            <a:hueOff val="-2633410"/>
            <a:satOff val="-6917"/>
            <a:lumOff val="8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488950">
            <a:lnSpc>
              <a:spcPct val="90000"/>
            </a:lnSpc>
            <a:spcBef>
              <a:spcPct val="0"/>
            </a:spcBef>
            <a:spcAft>
              <a:spcPct val="35000"/>
            </a:spcAft>
          </a:pPr>
          <a:r>
            <a:rPr lang="en-US" sz="1100" kern="1200" dirty="0" smtClean="0"/>
            <a:t> Retry</a:t>
          </a:r>
          <a:endParaRPr lang="en-US" sz="1100" kern="1200" dirty="0"/>
        </a:p>
      </dsp:txBody>
      <dsp:txXfrm>
        <a:off x="524185" y="1394059"/>
        <a:ext cx="7338590" cy="324720"/>
      </dsp:txXfrm>
    </dsp:sp>
    <dsp:sp modelId="{E30A212C-8B56-43EC-9F43-A857F36128D3}">
      <dsp:nvSpPr>
        <dsp:cNvPr id="0" name=""/>
        <dsp:cNvSpPr/>
      </dsp:nvSpPr>
      <dsp:spPr>
        <a:xfrm>
          <a:off x="0" y="2557804"/>
          <a:ext cx="10483701" cy="779625"/>
        </a:xfrm>
        <a:prstGeom prst="rect">
          <a:avLst/>
        </a:prstGeom>
        <a:solidFill>
          <a:schemeClr val="lt1">
            <a:alpha val="90000"/>
            <a:hueOff val="0"/>
            <a:satOff val="0"/>
            <a:lumOff val="0"/>
            <a:alphaOff val="0"/>
          </a:schemeClr>
        </a:solidFill>
        <a:ln w="25400" cap="flat" cmpd="sng" algn="ctr">
          <a:solidFill>
            <a:schemeClr val="accent5">
              <a:hueOff val="-5266820"/>
              <a:satOff val="-13833"/>
              <a:lumOff val="169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29108" rIns="813652" bIns="78232" numCol="1" spcCol="1270" anchor="t" anchorCtr="0">
          <a:noAutofit/>
        </a:bodyPr>
        <a:lstStyle/>
        <a:p>
          <a:pPr marL="57150" lvl="1" indent="-57150" algn="l" defTabSz="488950">
            <a:lnSpc>
              <a:spcPct val="90000"/>
            </a:lnSpc>
            <a:spcBef>
              <a:spcPct val="0"/>
            </a:spcBef>
            <a:spcAft>
              <a:spcPct val="15000"/>
            </a:spcAft>
            <a:buChar char="••"/>
          </a:pPr>
          <a:endParaRPr lang="en-US" sz="1100" kern="1200" dirty="0"/>
        </a:p>
        <a:p>
          <a:pPr marL="57150" lvl="1" indent="-57150" algn="l" defTabSz="488950">
            <a:lnSpc>
              <a:spcPct val="90000"/>
            </a:lnSpc>
            <a:spcBef>
              <a:spcPct val="0"/>
            </a:spcBef>
            <a:spcAft>
              <a:spcPct val="15000"/>
            </a:spcAft>
            <a:buChar char="••"/>
          </a:pPr>
          <a:r>
            <a:rPr lang="en-US" sz="1100" kern="1200" dirty="0"/>
            <a:t>Design an application so that it can be reconfigured without requiring redeployment </a:t>
          </a:r>
          <a:r>
            <a:rPr lang="en-US" sz="1100" kern="1200" dirty="0" smtClean="0"/>
            <a:t>or restarting the application. This helps to maintain availability and minimize downtime</a:t>
          </a:r>
          <a:endParaRPr lang="en-US" sz="1100" kern="1200" dirty="0"/>
        </a:p>
      </dsp:txBody>
      <dsp:txXfrm>
        <a:off x="0" y="2557804"/>
        <a:ext cx="10483701" cy="779625"/>
      </dsp:txXfrm>
    </dsp:sp>
    <dsp:sp modelId="{18369FC7-CAAA-4070-84FA-3F8768EE506F}">
      <dsp:nvSpPr>
        <dsp:cNvPr id="0" name=""/>
        <dsp:cNvSpPr/>
      </dsp:nvSpPr>
      <dsp:spPr>
        <a:xfrm>
          <a:off x="524185" y="2395444"/>
          <a:ext cx="7338590" cy="324720"/>
        </a:xfrm>
        <a:prstGeom prst="roundRect">
          <a:avLst/>
        </a:prstGeom>
        <a:solidFill>
          <a:schemeClr val="accent5">
            <a:hueOff val="-5266820"/>
            <a:satOff val="-13833"/>
            <a:lumOff val="169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488950">
            <a:lnSpc>
              <a:spcPct val="90000"/>
            </a:lnSpc>
            <a:spcBef>
              <a:spcPct val="0"/>
            </a:spcBef>
            <a:spcAft>
              <a:spcPct val="35000"/>
            </a:spcAft>
          </a:pPr>
          <a:r>
            <a:rPr lang="en-US" sz="1100" kern="1200" dirty="0" smtClean="0"/>
            <a:t> Runtime Reconfiguration</a:t>
          </a:r>
          <a:endParaRPr lang="en-US" sz="1100" kern="1200" dirty="0"/>
        </a:p>
      </dsp:txBody>
      <dsp:txXfrm>
        <a:off x="524185" y="2395444"/>
        <a:ext cx="7338590" cy="324720"/>
      </dsp:txXfrm>
    </dsp:sp>
    <dsp:sp modelId="{81B5700F-3815-4B59-BA07-600308D1BB5E}">
      <dsp:nvSpPr>
        <dsp:cNvPr id="0" name=""/>
        <dsp:cNvSpPr/>
      </dsp:nvSpPr>
      <dsp:spPr>
        <a:xfrm>
          <a:off x="0" y="3559189"/>
          <a:ext cx="10483701" cy="918225"/>
        </a:xfrm>
        <a:prstGeom prst="rect">
          <a:avLst/>
        </a:prstGeom>
        <a:solidFill>
          <a:schemeClr val="lt1">
            <a:alpha val="90000"/>
            <a:hueOff val="0"/>
            <a:satOff val="0"/>
            <a:lumOff val="0"/>
            <a:alphaOff val="0"/>
          </a:schemeClr>
        </a:solidFill>
        <a:ln w="25400" cap="flat" cmpd="sng" algn="ctr">
          <a:solidFill>
            <a:schemeClr val="accent5">
              <a:hueOff val="-7900229"/>
              <a:satOff val="-20750"/>
              <a:lumOff val="254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29108" rIns="813652" bIns="78232" numCol="1" spcCol="1270" anchor="t" anchorCtr="0">
          <a:noAutofit/>
        </a:bodyPr>
        <a:lstStyle/>
        <a:p>
          <a:pPr marL="57150" lvl="1" indent="-57150" algn="l" defTabSz="488950">
            <a:lnSpc>
              <a:spcPct val="90000"/>
            </a:lnSpc>
            <a:spcBef>
              <a:spcPct val="0"/>
            </a:spcBef>
            <a:spcAft>
              <a:spcPct val="15000"/>
            </a:spcAft>
            <a:buChar char="••"/>
          </a:pPr>
          <a:endParaRPr lang="en-US" sz="1100" kern="1200" dirty="0"/>
        </a:p>
        <a:p>
          <a:pPr marL="57150" lvl="1" indent="-57150" algn="l" defTabSz="488950">
            <a:lnSpc>
              <a:spcPct val="90000"/>
            </a:lnSpc>
            <a:spcBef>
              <a:spcPct val="0"/>
            </a:spcBef>
            <a:spcAft>
              <a:spcPct val="15000"/>
            </a:spcAft>
            <a:buChar char="••"/>
          </a:pPr>
          <a:r>
            <a:rPr lang="en-US" sz="1100" kern="1200" dirty="0"/>
            <a:t>Coordinate a set of actions across a distributed set of services and other remote resources</a:t>
          </a:r>
          <a:r>
            <a:rPr lang="en-US" sz="1100" kern="1200" dirty="0" smtClean="0"/>
            <a:t>, attempt to transparently handle faults if any of these actions fail, or undo the effects of the work performed if the system cannot recover from a fault. This pattern can add resiliency to a distributed system by enabling it to recover and retry actions that fail due to transient exceptions, long-lasting faults, and process failures</a:t>
          </a:r>
          <a:endParaRPr lang="en-US" sz="1100" kern="1200" dirty="0"/>
        </a:p>
      </dsp:txBody>
      <dsp:txXfrm>
        <a:off x="0" y="3559189"/>
        <a:ext cx="10483701" cy="918225"/>
      </dsp:txXfrm>
    </dsp:sp>
    <dsp:sp modelId="{81A2ABC5-D4F4-4186-BEFC-9B39EB4F6291}">
      <dsp:nvSpPr>
        <dsp:cNvPr id="0" name=""/>
        <dsp:cNvSpPr/>
      </dsp:nvSpPr>
      <dsp:spPr>
        <a:xfrm>
          <a:off x="524185" y="3396829"/>
          <a:ext cx="7338590" cy="324720"/>
        </a:xfrm>
        <a:prstGeom prst="roundRect">
          <a:avLst/>
        </a:prstGeom>
        <a:solidFill>
          <a:schemeClr val="accent5">
            <a:hueOff val="-7900229"/>
            <a:satOff val="-20750"/>
            <a:lumOff val="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488950">
            <a:lnSpc>
              <a:spcPct val="90000"/>
            </a:lnSpc>
            <a:spcBef>
              <a:spcPct val="0"/>
            </a:spcBef>
            <a:spcAft>
              <a:spcPct val="35000"/>
            </a:spcAft>
          </a:pPr>
          <a:r>
            <a:rPr lang="en-US" sz="1100" kern="1200" dirty="0" smtClean="0"/>
            <a:t> Scheduler Agent Supervisor</a:t>
          </a:r>
        </a:p>
      </dsp:txBody>
      <dsp:txXfrm>
        <a:off x="524185" y="3396829"/>
        <a:ext cx="7338590" cy="324720"/>
      </dsp:txXfrm>
    </dsp:sp>
  </dsp:spTree>
</dsp:drawing>
</file>

<file path=ppt/diagrams/drawing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FD0FB3E-67A7-41F2-B15D-28E891DA3E33}">
      <dsp:nvSpPr>
        <dsp:cNvPr id="0" name=""/>
        <dsp:cNvSpPr/>
      </dsp:nvSpPr>
      <dsp:spPr>
        <a:xfrm>
          <a:off x="0" y="239223"/>
          <a:ext cx="10483701" cy="8505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Divide a data store into a set of horizontal partitions shards. This pattern can </a:t>
          </a:r>
          <a:r>
            <a:rPr lang="en-US" sz="1200" kern="1200" dirty="0" smtClean="0"/>
            <a:t>improve scalability when storing and accessing large volumes of data.</a:t>
          </a:r>
          <a:endParaRPr lang="en-US" sz="1200" kern="1200" dirty="0"/>
        </a:p>
      </dsp:txBody>
      <dsp:txXfrm>
        <a:off x="0" y="239223"/>
        <a:ext cx="10483701" cy="850500"/>
      </dsp:txXfrm>
    </dsp:sp>
    <dsp:sp modelId="{F27CCBCE-0A77-416A-86B3-7D45B7292D56}">
      <dsp:nvSpPr>
        <dsp:cNvPr id="0" name=""/>
        <dsp:cNvSpPr/>
      </dsp:nvSpPr>
      <dsp:spPr>
        <a:xfrm>
          <a:off x="524185" y="62103"/>
          <a:ext cx="7338590" cy="35424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rtl="0">
            <a:lnSpc>
              <a:spcPct val="90000"/>
            </a:lnSpc>
            <a:spcBef>
              <a:spcPct val="0"/>
            </a:spcBef>
            <a:spcAft>
              <a:spcPct val="35000"/>
            </a:spcAft>
          </a:pPr>
          <a:r>
            <a:rPr lang="en-US" sz="1200" kern="1200" dirty="0" smtClean="0"/>
            <a:t> </a:t>
          </a:r>
          <a:r>
            <a:rPr lang="en-US" sz="1200" kern="1200" dirty="0" err="1" smtClean="0"/>
            <a:t>Sharding</a:t>
          </a:r>
          <a:endParaRPr lang="en-US" sz="1200" kern="1200" dirty="0"/>
        </a:p>
      </dsp:txBody>
      <dsp:txXfrm>
        <a:off x="524185" y="62103"/>
        <a:ext cx="7338590" cy="354240"/>
      </dsp:txXfrm>
    </dsp:sp>
    <dsp:sp modelId="{56889E27-1661-4146-ABD1-11356DD08B1A}">
      <dsp:nvSpPr>
        <dsp:cNvPr id="0" name=""/>
        <dsp:cNvSpPr/>
      </dsp:nvSpPr>
      <dsp:spPr>
        <a:xfrm>
          <a:off x="0" y="1331644"/>
          <a:ext cx="10483701" cy="850500"/>
        </a:xfrm>
        <a:prstGeom prst="rect">
          <a:avLst/>
        </a:prstGeom>
        <a:solidFill>
          <a:schemeClr val="lt1">
            <a:alpha val="90000"/>
            <a:hueOff val="0"/>
            <a:satOff val="0"/>
            <a:lumOff val="0"/>
            <a:alphaOff val="0"/>
          </a:schemeClr>
        </a:solidFill>
        <a:ln w="25400" cap="flat" cmpd="sng" algn="ctr">
          <a:solidFill>
            <a:schemeClr val="accent5">
              <a:hueOff val="-2633410"/>
              <a:satOff val="-6917"/>
              <a:lumOff val="85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Deploy static content to a cloud-based storage service that can deliver these directly to </a:t>
          </a:r>
          <a:r>
            <a:rPr lang="en-US" sz="1200" kern="1200" dirty="0" smtClean="0"/>
            <a:t>the client. This pattern can reduce the requirement for potentially expensive compute instances.</a:t>
          </a:r>
          <a:endParaRPr lang="en-US" sz="1200" kern="1200" dirty="0"/>
        </a:p>
      </dsp:txBody>
      <dsp:txXfrm>
        <a:off x="0" y="1331644"/>
        <a:ext cx="10483701" cy="850500"/>
      </dsp:txXfrm>
    </dsp:sp>
    <dsp:sp modelId="{24B9AD72-E758-47DC-8944-4AFDC45CD6E0}">
      <dsp:nvSpPr>
        <dsp:cNvPr id="0" name=""/>
        <dsp:cNvSpPr/>
      </dsp:nvSpPr>
      <dsp:spPr>
        <a:xfrm>
          <a:off x="524185" y="1154524"/>
          <a:ext cx="7338590" cy="354240"/>
        </a:xfrm>
        <a:prstGeom prst="roundRect">
          <a:avLst/>
        </a:prstGeom>
        <a:solidFill>
          <a:schemeClr val="accent5">
            <a:hueOff val="-2633410"/>
            <a:satOff val="-6917"/>
            <a:lumOff val="8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a:lnSpc>
              <a:spcPct val="90000"/>
            </a:lnSpc>
            <a:spcBef>
              <a:spcPct val="0"/>
            </a:spcBef>
            <a:spcAft>
              <a:spcPct val="35000"/>
            </a:spcAft>
          </a:pPr>
          <a:r>
            <a:rPr lang="en-US" sz="1200" kern="1200" dirty="0" smtClean="0"/>
            <a:t> Static Content Hosting</a:t>
          </a:r>
          <a:endParaRPr lang="en-US" sz="1200" kern="1200" dirty="0"/>
        </a:p>
      </dsp:txBody>
      <dsp:txXfrm>
        <a:off x="524185" y="1154524"/>
        <a:ext cx="7338590" cy="354240"/>
      </dsp:txXfrm>
    </dsp:sp>
    <dsp:sp modelId="{E61E391F-0C34-44C1-8C02-D31CFDFC25BC}">
      <dsp:nvSpPr>
        <dsp:cNvPr id="0" name=""/>
        <dsp:cNvSpPr/>
      </dsp:nvSpPr>
      <dsp:spPr>
        <a:xfrm>
          <a:off x="0" y="2424064"/>
          <a:ext cx="10483701" cy="1001700"/>
        </a:xfrm>
        <a:prstGeom prst="rect">
          <a:avLst/>
        </a:prstGeom>
        <a:solidFill>
          <a:schemeClr val="lt1">
            <a:alpha val="90000"/>
            <a:hueOff val="0"/>
            <a:satOff val="0"/>
            <a:lumOff val="0"/>
            <a:alphaOff val="0"/>
          </a:schemeClr>
        </a:solidFill>
        <a:ln w="25400" cap="flat" cmpd="sng" algn="ctr">
          <a:solidFill>
            <a:schemeClr val="accent5">
              <a:hueOff val="-5266820"/>
              <a:satOff val="-13833"/>
              <a:lumOff val="169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Control the consumption of resources used by an instance of an application, an </a:t>
          </a:r>
          <a:r>
            <a:rPr lang="en-US" sz="1200" kern="1200" dirty="0" smtClean="0"/>
            <a:t>individual tenant, or an entire service. This pattern can allow the system to continue to function and meet service level agreements, even when an increase in demand places an extreme load on resources.</a:t>
          </a:r>
          <a:endParaRPr lang="en-US" sz="1200" kern="1200" dirty="0"/>
        </a:p>
      </dsp:txBody>
      <dsp:txXfrm>
        <a:off x="0" y="2424064"/>
        <a:ext cx="10483701" cy="1001700"/>
      </dsp:txXfrm>
    </dsp:sp>
    <dsp:sp modelId="{3C428A22-1A69-4860-AB30-3D359F2329D0}">
      <dsp:nvSpPr>
        <dsp:cNvPr id="0" name=""/>
        <dsp:cNvSpPr/>
      </dsp:nvSpPr>
      <dsp:spPr>
        <a:xfrm>
          <a:off x="524185" y="2246944"/>
          <a:ext cx="7338590" cy="354240"/>
        </a:xfrm>
        <a:prstGeom prst="roundRect">
          <a:avLst/>
        </a:prstGeom>
        <a:solidFill>
          <a:schemeClr val="accent5">
            <a:hueOff val="-5266820"/>
            <a:satOff val="-13833"/>
            <a:lumOff val="169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a:lnSpc>
              <a:spcPct val="90000"/>
            </a:lnSpc>
            <a:spcBef>
              <a:spcPct val="0"/>
            </a:spcBef>
            <a:spcAft>
              <a:spcPct val="35000"/>
            </a:spcAft>
          </a:pPr>
          <a:r>
            <a:rPr lang="en-US" sz="1200" kern="1200" dirty="0" smtClean="0"/>
            <a:t> Throttling</a:t>
          </a:r>
          <a:endParaRPr lang="en-US" sz="1200" kern="1200" dirty="0"/>
        </a:p>
      </dsp:txBody>
      <dsp:txXfrm>
        <a:off x="524185" y="2246944"/>
        <a:ext cx="7338590" cy="354240"/>
      </dsp:txXfrm>
    </dsp:sp>
    <dsp:sp modelId="{15140B8F-ED11-45D6-AE99-23EDE0007CDB}">
      <dsp:nvSpPr>
        <dsp:cNvPr id="0" name=""/>
        <dsp:cNvSpPr/>
      </dsp:nvSpPr>
      <dsp:spPr>
        <a:xfrm>
          <a:off x="0" y="3667684"/>
          <a:ext cx="10483701" cy="1001700"/>
        </a:xfrm>
        <a:prstGeom prst="rect">
          <a:avLst/>
        </a:prstGeom>
        <a:solidFill>
          <a:schemeClr val="lt1">
            <a:alpha val="90000"/>
            <a:hueOff val="0"/>
            <a:satOff val="0"/>
            <a:lumOff val="0"/>
            <a:alphaOff val="0"/>
          </a:schemeClr>
        </a:solidFill>
        <a:ln w="25400" cap="flat" cmpd="sng" algn="ctr">
          <a:solidFill>
            <a:schemeClr val="accent5">
              <a:hueOff val="-7900229"/>
              <a:satOff val="-20750"/>
              <a:lumOff val="254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Use a token or key that provides clients with restricted direct access to a specific resource </a:t>
          </a:r>
          <a:r>
            <a:rPr lang="en-US" sz="1200" kern="1200" dirty="0" smtClean="0"/>
            <a:t>or service in order to offload data transfer operations from the application code. This pattern is particularly useful in applications that use cloud-hosted storage systems or queues, and can minimize cost and maximize scalability and performance</a:t>
          </a:r>
          <a:endParaRPr lang="en-US" sz="1200" kern="1200" dirty="0"/>
        </a:p>
      </dsp:txBody>
      <dsp:txXfrm>
        <a:off x="0" y="3667684"/>
        <a:ext cx="10483701" cy="1001700"/>
      </dsp:txXfrm>
    </dsp:sp>
    <dsp:sp modelId="{BE36EFEF-53A1-4EBC-8AD9-47297165D038}">
      <dsp:nvSpPr>
        <dsp:cNvPr id="0" name=""/>
        <dsp:cNvSpPr/>
      </dsp:nvSpPr>
      <dsp:spPr>
        <a:xfrm>
          <a:off x="524185" y="3490564"/>
          <a:ext cx="7338590" cy="354240"/>
        </a:xfrm>
        <a:prstGeom prst="roundRect">
          <a:avLst/>
        </a:prstGeom>
        <a:solidFill>
          <a:schemeClr val="accent5">
            <a:hueOff val="-7900229"/>
            <a:satOff val="-20750"/>
            <a:lumOff val="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a:lnSpc>
              <a:spcPct val="90000"/>
            </a:lnSpc>
            <a:spcBef>
              <a:spcPct val="0"/>
            </a:spcBef>
            <a:spcAft>
              <a:spcPct val="35000"/>
            </a:spcAft>
          </a:pPr>
          <a:r>
            <a:rPr lang="en-US" sz="1200" kern="1200" dirty="0" smtClean="0"/>
            <a:t> Valet Key</a:t>
          </a:r>
        </a:p>
      </dsp:txBody>
      <dsp:txXfrm>
        <a:off x="524185" y="3490564"/>
        <a:ext cx="7338590" cy="35424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3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2/27/2016</a:t>
            </a:fld>
            <a:endParaRPr lang="en-US" dirty="0"/>
          </a:p>
        </p:txBody>
      </p:sp>
      <p:sp>
        <p:nvSpPr>
          <p:cNvPr id="4" name="Slide Image Placeholder 3"/>
          <p:cNvSpPr>
            <a:spLocks noGrp="1" noRot="1" noChangeAspect="1"/>
          </p:cNvSpPr>
          <p:nvPr>
            <p:ph type="sldImg" idx="2"/>
          </p:nvPr>
        </p:nvSpPr>
        <p:spPr>
          <a:xfrm>
            <a:off x="438150" y="741363"/>
            <a:ext cx="592137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dirty="0"/>
          </a:p>
        </p:txBody>
      </p:sp>
    </p:spTree>
    <p:extLst>
      <p:ext uri="{BB962C8B-B14F-4D97-AF65-F5344CB8AC3E}">
        <p14:creationId xmlns="" xmlns:p14="http://schemas.microsoft.com/office/powerpoint/2010/main" val="10240571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5.png"/><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tags" Target="../tags/tag48.xml"/><Relationship Id="rId11" Type="http://schemas.openxmlformats.org/officeDocument/2006/relationships/image" Target="../media/image4.emf"/><Relationship Id="rId5" Type="http://schemas.openxmlformats.org/officeDocument/2006/relationships/tags" Target="../tags/tag47.xml"/><Relationship Id="rId10" Type="http://schemas.openxmlformats.org/officeDocument/2006/relationships/oleObject" Target="../embeddings/oleObject12.bin"/><Relationship Id="rId4" Type="http://schemas.openxmlformats.org/officeDocument/2006/relationships/tags" Target="../tags/tag46.xml"/><Relationship Id="rId9" Type="http://schemas.openxmlformats.org/officeDocument/2006/relationships/image" Target="../media/image15.jpe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4.emf"/><Relationship Id="rId2" Type="http://schemas.openxmlformats.org/officeDocument/2006/relationships/tags" Target="../tags/tag50.xml"/><Relationship Id="rId1" Type="http://schemas.openxmlformats.org/officeDocument/2006/relationships/vmlDrawing" Target="../drawings/vmlDrawing13.vml"/><Relationship Id="rId6" Type="http://schemas.openxmlformats.org/officeDocument/2006/relationships/tags" Target="../tags/tag54.xml"/><Relationship Id="rId11" Type="http://schemas.openxmlformats.org/officeDocument/2006/relationships/image" Target="../media/image5.png"/><Relationship Id="rId5" Type="http://schemas.openxmlformats.org/officeDocument/2006/relationships/tags" Target="../tags/tag53.xml"/><Relationship Id="rId10" Type="http://schemas.openxmlformats.org/officeDocument/2006/relationships/oleObject" Target="../embeddings/oleObject13.bin"/><Relationship Id="rId4" Type="http://schemas.openxmlformats.org/officeDocument/2006/relationships/tags" Target="../tags/tag52.xml"/><Relationship Id="rId9" Type="http://schemas.openxmlformats.org/officeDocument/2006/relationships/image" Target="../media/image14.jpeg"/></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oleObject" Target="../embeddings/oleObject14.bin"/><Relationship Id="rId2" Type="http://schemas.openxmlformats.org/officeDocument/2006/relationships/tags" Target="../tags/tag56.xml"/><Relationship Id="rId1" Type="http://schemas.openxmlformats.org/officeDocument/2006/relationships/vmlDrawing" Target="../drawings/vmlDrawing14.vml"/><Relationship Id="rId6" Type="http://schemas.openxmlformats.org/officeDocument/2006/relationships/image" Target="../media/image16.jpeg"/><Relationship Id="rId5" Type="http://schemas.openxmlformats.org/officeDocument/2006/relationships/slideMaster" Target="../slideMasters/slideMaster5.xml"/><Relationship Id="rId4" Type="http://schemas.openxmlformats.org/officeDocument/2006/relationships/tags" Target="../tags/tag5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15.vml"/><Relationship Id="rId4" Type="http://schemas.openxmlformats.org/officeDocument/2006/relationships/oleObject" Target="../embeddings/oleObject15.bin"/></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5.xml"/><Relationship Id="rId4" Type="http://schemas.openxmlformats.org/officeDocument/2006/relationships/tags" Target="../tags/tag6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5.xml"/><Relationship Id="rId4" Type="http://schemas.openxmlformats.org/officeDocument/2006/relationships/tags" Target="../tags/tag65.xml"/></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67.xml"/><Relationship Id="rId7"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vmlDrawing" Target="../drawings/vmlDrawing18.v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vmlDrawing" Target="../drawings/vmlDrawing19.v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2.xml"/><Relationship Id="rId5" Type="http://schemas.openxmlformats.org/officeDocument/2006/relationships/tags" Target="../tags/tag30.xml"/><Relationship Id="rId4" Type="http://schemas.openxmlformats.org/officeDocument/2006/relationships/tags" Target="../tags/tag2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7.vml"/><Relationship Id="rId5" Type="http://schemas.openxmlformats.org/officeDocument/2006/relationships/image" Target="../media/image12.png"/><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9.vml"/><Relationship Id="rId6" Type="http://schemas.openxmlformats.org/officeDocument/2006/relationships/image" Target="../media/image13.png"/><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4" name="Picture 13"/>
          <p:cNvPicPr>
            <a:picLocks noChangeAspect="1" noChangeArrowheads="1"/>
          </p:cNvPicPr>
          <p:nvPr userDrawn="1"/>
        </p:nvPicPr>
        <p:blipFill>
          <a:blip r:embed="rId9" cstate="screen"/>
          <a:srcRect/>
          <a:stretch>
            <a:fillRect/>
          </a:stretch>
        </p:blipFill>
        <p:spPr bwMode="auto">
          <a:xfrm>
            <a:off x="-1" y="881083"/>
            <a:ext cx="10981490" cy="5612339"/>
          </a:xfrm>
          <a:prstGeom prst="rect">
            <a:avLst/>
          </a:prstGeom>
          <a:noFill/>
          <a:ln w="9525">
            <a:noFill/>
            <a:miter lim="800000"/>
            <a:headEnd/>
            <a:tailEnd/>
          </a:ln>
          <a:effectLst/>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121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10622867"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30286"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775" y="4406900"/>
            <a:ext cx="9326563"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66775" y="2906713"/>
            <a:ext cx="9326563"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E9845D0-71EC-4FAB-9362-88C8DE3E0EEE}" type="datetimeFigureOut">
              <a:rPr lang="en-US" smtClean="0"/>
              <a:pPr/>
              <a:t>12/27/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41875115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49275"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562600"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E9845D0-71EC-4FAB-9362-88C8DE3E0EEE}" type="datetimeFigureOut">
              <a:rPr lang="en-US" smtClean="0"/>
              <a:pPr/>
              <a:t>12/27/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2894525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49275" y="1535113"/>
            <a:ext cx="48482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9275" y="2174875"/>
            <a:ext cx="48482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573713" y="1535113"/>
            <a:ext cx="48498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573713" y="2174875"/>
            <a:ext cx="48498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E9845D0-71EC-4FAB-9362-88C8DE3E0EEE}" type="datetimeFigureOut">
              <a:rPr lang="en-US" smtClean="0"/>
              <a:pPr/>
              <a:t>12/27/201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2591900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E9845D0-71EC-4FAB-9362-88C8DE3E0EEE}" type="datetimeFigureOut">
              <a:rPr lang="en-US" smtClean="0"/>
              <a:pPr/>
              <a:t>12/27/201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2968992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9845D0-71EC-4FAB-9362-88C8DE3E0EEE}" type="datetimeFigureOut">
              <a:rPr lang="en-US" smtClean="0"/>
              <a:pPr/>
              <a:t>12/27/201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6068087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9275" y="273050"/>
            <a:ext cx="360997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289425" y="273050"/>
            <a:ext cx="61341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49275" y="1435100"/>
            <a:ext cx="360997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12/27/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9804511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1063" y="4800600"/>
            <a:ext cx="6583362"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151063" y="612775"/>
            <a:ext cx="658336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151063" y="5367338"/>
            <a:ext cx="658336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12/27/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0870388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12/27/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0698165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4963" y="274638"/>
            <a:ext cx="2468562"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49275" y="274638"/>
            <a:ext cx="7253288"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12/27/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8029604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109728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2600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5642904"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643584"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76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10972800" cy="5807378"/>
          </a:xfrm>
          <a:prstGeom prst="rect">
            <a:avLst/>
          </a:prstGeom>
        </p:spPr>
      </p:pic>
      <p:graphicFrame>
        <p:nvGraphicFramePr>
          <p:cNvPr id="4" name="Object 3" hidden="1"/>
          <p:cNvGraphicFramePr>
            <a:graphicFrameLocks noChangeAspect="1"/>
          </p:cNvGraphicFramePr>
          <p:nvPr/>
        </p:nvGraphicFramePr>
        <p:xfrm>
          <a:off x="1" y="0"/>
          <a:ext cx="175846" cy="158750"/>
        </p:xfrm>
        <a:graphic>
          <a:graphicData uri="http://schemas.openxmlformats.org/presentationml/2006/ole">
            <p:oleObj spid="_x0000_s2611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974371" y="1968817"/>
            <a:ext cx="5998429"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911702" y="4609876"/>
            <a:ext cx="5061098"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93367" y="653034"/>
            <a:ext cx="3324193" cy="694690"/>
          </a:xfrm>
          <a:prstGeom prst="rect">
            <a:avLst/>
          </a:prstGeom>
          <a:noFill/>
        </p:spPr>
      </p:pic>
      <p:sp>
        <p:nvSpPr>
          <p:cNvPr id="23" name="Rectangle 22"/>
          <p:cNvSpPr/>
          <p:nvPr userDrawn="1">
            <p:custDataLst>
              <p:tags r:id="rId6"/>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7277302" y="6520695"/>
            <a:ext cx="3324655" cy="239021"/>
          </a:xfrm>
          <a:prstGeom prst="rect">
            <a:avLst/>
          </a:prstGeom>
          <a:noFill/>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10972800" cy="6353298"/>
          </a:xfrm>
          <a:prstGeom prst="rect">
            <a:avLst/>
          </a:prstGeom>
        </p:spPr>
      </p:pic>
      <p:sp>
        <p:nvSpPr>
          <p:cNvPr id="8" name="Rectangle 7"/>
          <p:cNvSpPr/>
          <p:nvPr userDrawn="1"/>
        </p:nvSpPr>
        <p:spPr>
          <a:xfrm>
            <a:off x="0" y="1"/>
            <a:ext cx="109728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75846" cy="158750"/>
        </p:xfrm>
        <a:graphic>
          <a:graphicData uri="http://schemas.openxmlformats.org/presentationml/2006/ole">
            <p:oleObj spid="_x0000_s2621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58324" y="1501978"/>
            <a:ext cx="7540783" cy="2950251"/>
          </a:xfrm>
        </p:spPr>
        <p:txBody>
          <a:bodyPr/>
          <a:lstStyle/>
          <a:p>
            <a:pPr lvl="0"/>
            <a:r>
              <a:rPr lang="en-US" noProof="0" dirty="0" smtClean="0"/>
              <a:t>Click to edit Master text styl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31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51694" y="1511300"/>
            <a:ext cx="10265897"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41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58219" y="2111956"/>
            <a:ext cx="10614581"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58325" y="1495447"/>
            <a:ext cx="106323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2652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1533439"/>
            <a:ext cx="4986984"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1533440"/>
            <a:ext cx="4986984"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75846" cy="158750"/>
        </p:xfrm>
        <a:graphic>
          <a:graphicData uri="http://schemas.openxmlformats.org/presentationml/2006/ole">
            <p:oleObj spid="_x0000_s2662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2206953"/>
            <a:ext cx="4986984"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2208394"/>
            <a:ext cx="4986984"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48602" y="1542648"/>
            <a:ext cx="4986984"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564099" y="1533439"/>
            <a:ext cx="4986984"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51692" y="1511299"/>
            <a:ext cx="505766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51692" y="1902610"/>
            <a:ext cx="505766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595349" y="1511299"/>
            <a:ext cx="5022243"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595349" y="1902610"/>
            <a:ext cx="5022243"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51692" y="3894138"/>
            <a:ext cx="505766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51692" y="4286585"/>
            <a:ext cx="505766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595349" y="3894138"/>
            <a:ext cx="5022243"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595349" y="4286585"/>
            <a:ext cx="5022243"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2672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75846" cy="158750"/>
        </p:xfrm>
        <a:graphic>
          <a:graphicData uri="http://schemas.openxmlformats.org/presentationml/2006/ole">
            <p:oleObj spid="_x0000_s17316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1"/>
          <a:ext cx="162898" cy="143985"/>
        </p:xfrm>
        <a:graphic>
          <a:graphicData uri="http://schemas.openxmlformats.org/presentationml/2006/ole">
            <p:oleObj spid="_x0000_s132290" name="think-cell Slide" r:id="rId7" imgW="360" imgH="360" progId="">
              <p:embed/>
            </p:oleObj>
          </a:graphicData>
        </a:graphic>
      </p:graphicFrame>
      <p:grpSp>
        <p:nvGrpSpPr>
          <p:cNvPr id="5" name="Group 351"/>
          <p:cNvGrpSpPr/>
          <p:nvPr userDrawn="1">
            <p:custDataLst>
              <p:tags r:id="rId2"/>
            </p:custDataLst>
          </p:nvPr>
        </p:nvGrpSpPr>
        <p:grpSpPr>
          <a:xfrm>
            <a:off x="6404598" y="3258545"/>
            <a:ext cx="4100184"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238359" y="3617150"/>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a:t>
            </a:r>
            <a:r>
              <a:rPr lang="en-US" sz="1000" dirty="0" smtClean="0">
                <a:solidFill>
                  <a:schemeClr val="bg1"/>
                </a:solidFill>
                <a:latin typeface="Arial" pitchFamily="34" charset="0"/>
                <a:cs typeface="Arial" pitchFamily="34" charset="0"/>
              </a:rPr>
              <a:t>125,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44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2 </a:t>
            </a:r>
            <a:r>
              <a:rPr lang="en-US" sz="1000" dirty="0">
                <a:solidFill>
                  <a:schemeClr val="bg1"/>
                </a:solidFill>
                <a:latin typeface="Arial" pitchFamily="34" charset="0"/>
                <a:cs typeface="Arial" pitchFamily="34" charset="0"/>
              </a:rPr>
              <a:t>global revenues of EUR </a:t>
            </a:r>
            <a:r>
              <a:rPr lang="en-US" sz="1000" dirty="0" smtClean="0">
                <a:solidFill>
                  <a:schemeClr val="bg1"/>
                </a:solidFill>
                <a:latin typeface="Arial" pitchFamily="34" charset="0"/>
                <a:cs typeface="Arial" pitchFamily="34" charset="0"/>
              </a:rPr>
              <a:t>10.3 </a:t>
            </a:r>
            <a:r>
              <a:rPr lang="en-US" sz="1000" dirty="0">
                <a:solidFill>
                  <a:schemeClr val="bg1"/>
                </a:solidFill>
                <a:latin typeface="Arial" pitchFamily="34" charset="0"/>
                <a:cs typeface="Arial" pitchFamily="34" charset="0"/>
              </a:rPr>
              <a:t>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961172" y="3468294"/>
            <a:ext cx="575526" cy="522508"/>
          </a:xfrm>
          <a:prstGeom prst="rect">
            <a:avLst/>
          </a:prstGeom>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 y="1"/>
          <a:ext cx="162898" cy="143985"/>
        </p:xfrm>
        <a:graphic>
          <a:graphicData uri="http://schemas.openxmlformats.org/presentationml/2006/ole">
            <p:oleObj spid="_x0000_s13126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855485" y="2940256"/>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578299" y="2791400"/>
            <a:ext cx="575526" cy="522508"/>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1">
    <p:bg>
      <p:bgPr>
        <a:gradFill rotWithShape="1">
          <a:gsLst>
            <a:gs pos="0">
              <a:schemeClr val="bg1">
                <a:tint val="80000"/>
                <a:satMod val="300000"/>
              </a:schemeClr>
            </a:gs>
            <a:gs pos="100000">
              <a:schemeClr val="accent5">
                <a:lumMod val="75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42532" name="think-cell Slide" r:id="rId5" imgW="360" imgH="360" progId="">
              <p:embed/>
            </p:oleObj>
          </a:graphicData>
        </a:graphic>
      </p:graphicFrame>
      <p:sp>
        <p:nvSpPr>
          <p:cNvPr id="7" name="Rectangle 7"/>
          <p:cNvSpPr/>
          <p:nvPr userDrawn="1">
            <p:custDataLst>
              <p:tags r:id="rId2"/>
            </p:custDataLst>
          </p:nvPr>
        </p:nvSpPr>
        <p:spPr bwMode="auto">
          <a:xfrm flipV="1">
            <a:off x="-1302" y="3384912"/>
            <a:ext cx="10974103"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109728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1078449" y="971046"/>
            <a:ext cx="7974034" cy="4797156"/>
          </a:xfrm>
          <a:prstGeom prst="rect">
            <a:avLst/>
          </a:prstGeom>
        </p:spPr>
      </p:pic>
      <p:sp>
        <p:nvSpPr>
          <p:cNvPr id="12" name="Rectangle 4"/>
          <p:cNvSpPr>
            <a:spLocks noGrp="1" noChangeArrowheads="1"/>
          </p:cNvSpPr>
          <p:nvPr>
            <p:ph type="subTitle" idx="1"/>
          </p:nvPr>
        </p:nvSpPr>
        <p:spPr bwMode="gray">
          <a:xfrm>
            <a:off x="0" y="5740401"/>
            <a:ext cx="109728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10972800" cy="5807378"/>
          </a:xfrm>
          <a:prstGeom prst="rect">
            <a:avLst/>
          </a:prstGeom>
        </p:spPr>
      </p:pic>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27170" name="think-cell Slide" r:id="rId6" imgW="360" imgH="360" progId="">
              <p:embed/>
            </p:oleObj>
          </a:graphicData>
        </a:graphic>
      </p:graphicFrame>
      <p:sp>
        <p:nvSpPr>
          <p:cNvPr id="4" name="Rectangle 7"/>
          <p:cNvSpPr/>
          <p:nvPr userDrawn="1">
            <p:custDataLst>
              <p:tags r:id="rId2"/>
            </p:custDataLst>
          </p:nvPr>
        </p:nvSpPr>
        <p:spPr bwMode="auto">
          <a:xfrm>
            <a:off x="-2274" y="0"/>
            <a:ext cx="10975607"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109728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109728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325" y="2130425"/>
            <a:ext cx="93281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646238" y="3886200"/>
            <a:ext cx="768032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12/27/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21593982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12/27/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26545181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tags" Target="../tags/tag8.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vmlDrawing" Target="../drawings/vmlDrawing1.vml"/><Relationship Id="rId15" Type="http://schemas.openxmlformats.org/officeDocument/2006/relationships/image" Target="../media/image2.png"/><Relationship Id="rId10" Type="http://schemas.openxmlformats.org/officeDocument/2006/relationships/tags" Target="../tags/tag6.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heme" Target="../theme/theme2.xml"/><Relationship Id="rId21" Type="http://schemas.openxmlformats.org/officeDocument/2006/relationships/image" Target="../media/image8.png"/><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image" Target="../media/image4.emf"/><Relationship Id="rId25" Type="http://schemas.openxmlformats.org/officeDocument/2006/relationships/image" Target="../media/image10.png"/><Relationship Id="rId2" Type="http://schemas.openxmlformats.org/officeDocument/2006/relationships/slideLayout" Target="../slideLayouts/slideLayout5.xml"/><Relationship Id="rId16" Type="http://schemas.openxmlformats.org/officeDocument/2006/relationships/image" Target="../media/image6.tiff"/><Relationship Id="rId20" Type="http://schemas.openxmlformats.org/officeDocument/2006/relationships/hyperlink" Target="http://www.linkedin.com/company/capgemini" TargetMode="External"/><Relationship Id="rId1" Type="http://schemas.openxmlformats.org/officeDocument/2006/relationships/slideLayout" Target="../slideLayouts/slideLayout4.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hyperlink" Target="http://www.youtube.com/capgemini" TargetMode="External"/><Relationship Id="rId5" Type="http://schemas.openxmlformats.org/officeDocument/2006/relationships/tags" Target="../tags/tag17.xml"/><Relationship Id="rId15" Type="http://schemas.openxmlformats.org/officeDocument/2006/relationships/oleObject" Target="../embeddings/oleObject5.bin"/><Relationship Id="rId23" Type="http://schemas.openxmlformats.org/officeDocument/2006/relationships/image" Target="../media/image9.png"/><Relationship Id="rId10" Type="http://schemas.openxmlformats.org/officeDocument/2006/relationships/tags" Target="../tags/tag22.xml"/><Relationship Id="rId19" Type="http://schemas.openxmlformats.org/officeDocument/2006/relationships/image" Target="../media/image7.png"/><Relationship Id="rId4" Type="http://schemas.openxmlformats.org/officeDocument/2006/relationships/vmlDrawing" Target="../drawings/vmlDrawing5.v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hyperlink" Target="http://www.twitter.com/capgemini" TargetMode="External"/><Relationship Id="rId27" Type="http://schemas.openxmlformats.org/officeDocument/2006/relationships/image" Target="../media/image11.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7.xml"/><Relationship Id="rId1" Type="http://schemas.openxmlformats.org/officeDocument/2006/relationships/slideLayout" Target="../slideLayouts/slideLayout6.xml"/><Relationship Id="rId5" Type="http://schemas.openxmlformats.org/officeDocument/2006/relationships/oleObject" Target="../embeddings/oleObject8.bin"/><Relationship Id="rId4" Type="http://schemas.openxmlformats.org/officeDocument/2006/relationships/vmlDrawing" Target="../drawings/vmlDrawing8.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ags" Target="../tags/tag37.xml"/><Relationship Id="rId18" Type="http://schemas.openxmlformats.org/officeDocument/2006/relationships/tags" Target="../tags/tag42.xml"/><Relationship Id="rId3" Type="http://schemas.openxmlformats.org/officeDocument/2006/relationships/slideLayout" Target="../slideLayouts/slideLayout21.xml"/><Relationship Id="rId21" Type="http://schemas.openxmlformats.org/officeDocument/2006/relationships/image" Target="../media/image2.png"/><Relationship Id="rId7" Type="http://schemas.openxmlformats.org/officeDocument/2006/relationships/slideLayout" Target="../slideLayouts/slideLayout25.xml"/><Relationship Id="rId12" Type="http://schemas.openxmlformats.org/officeDocument/2006/relationships/tags" Target="../tags/tag36.xml"/><Relationship Id="rId17" Type="http://schemas.openxmlformats.org/officeDocument/2006/relationships/tags" Target="../tags/tag41.xml"/><Relationship Id="rId2" Type="http://schemas.openxmlformats.org/officeDocument/2006/relationships/slideLayout" Target="../slideLayouts/slideLayout20.xml"/><Relationship Id="rId16" Type="http://schemas.openxmlformats.org/officeDocument/2006/relationships/tags" Target="../tags/tag40.xml"/><Relationship Id="rId20" Type="http://schemas.openxmlformats.org/officeDocument/2006/relationships/oleObject" Target="../embeddings/oleObject11.bin"/><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vmlDrawing" Target="../drawings/vmlDrawing11.vml"/><Relationship Id="rId5" Type="http://schemas.openxmlformats.org/officeDocument/2006/relationships/slideLayout" Target="../slideLayouts/slideLayout23.xml"/><Relationship Id="rId15" Type="http://schemas.openxmlformats.org/officeDocument/2006/relationships/tags" Target="../tags/tag39.xml"/><Relationship Id="rId10" Type="http://schemas.openxmlformats.org/officeDocument/2006/relationships/theme" Target="../theme/theme5.xml"/><Relationship Id="rId19" Type="http://schemas.openxmlformats.org/officeDocument/2006/relationships/tags" Target="../tags/tag43.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ags" Target="../tags/tag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243" name="think-cell Slide" r:id="rId14" imgW="360" imgH="360" progId="">
              <p:embed/>
            </p:oleObj>
          </a:graphicData>
        </a:graphic>
      </p:graphicFrame>
      <p:sp>
        <p:nvSpPr>
          <p:cNvPr id="2" name="Title Placeholder 1"/>
          <p:cNvSpPr>
            <a:spLocks noGrp="1"/>
          </p:cNvSpPr>
          <p:nvPr>
            <p:ph type="title"/>
            <p:custDataLst>
              <p:tags r:id="rId6"/>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7"/>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8"/>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9"/>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0"/>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5. All Rights Reserved</a:t>
            </a:r>
          </a:p>
        </p:txBody>
      </p:sp>
      <p:sp>
        <p:nvSpPr>
          <p:cNvPr id="13" name="Rectangle 12"/>
          <p:cNvSpPr/>
          <p:nvPr>
            <p:custDataLst>
              <p:tags r:id="rId11"/>
            </p:custDataLst>
          </p:nvPr>
        </p:nvSpPr>
        <p:spPr>
          <a:xfrm>
            <a:off x="3411415" y="6427223"/>
            <a:ext cx="7003633"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ation</a:t>
            </a:r>
            <a:r>
              <a:rPr lang="en-US" sz="700" baseline="0" dirty="0" smtClean="0">
                <a:solidFill>
                  <a:schemeClr val="tx2"/>
                </a:solidFill>
                <a:latin typeface="+mn-lt"/>
              </a:rPr>
              <a:t> Services</a:t>
            </a:r>
            <a:r>
              <a:rPr lang="en-US" sz="700" kern="1200" dirty="0" smtClean="0">
                <a:solidFill>
                  <a:schemeClr val="tx2"/>
                </a:solidFill>
                <a:latin typeface="+mn-lt"/>
                <a:ea typeface="+mn-ea"/>
                <a:cs typeface="+mn-cs"/>
              </a:rPr>
              <a:t>|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2"/>
            </p:custDataLst>
          </p:nvPr>
        </p:nvPicPr>
        <p:blipFill>
          <a:blip r:embed="rId15"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3"/>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4" r:id="rId2"/>
    <p:sldLayoutId id="2147483971" r:id="rId3"/>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75846" cy="158750"/>
        </p:xfrm>
        <a:graphic>
          <a:graphicData uri="http://schemas.openxmlformats.org/presentationml/2006/ole">
            <p:oleObj spid="_x0000_s133314" name="think-cell Slide" r:id="rId15" imgW="360" imgH="360" progId="">
              <p:embed/>
            </p:oleObj>
          </a:graphicData>
        </a:graphic>
      </p:graphicFrame>
      <p:sp>
        <p:nvSpPr>
          <p:cNvPr id="357" name="Rectangle 7"/>
          <p:cNvSpPr/>
          <p:nvPr>
            <p:custDataLst>
              <p:tags r:id="rId5"/>
            </p:custDataLst>
          </p:nvPr>
        </p:nvSpPr>
        <p:spPr bwMode="auto">
          <a:xfrm flipV="1">
            <a:off x="-1835" y="1677994"/>
            <a:ext cx="10974635"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6"/>
            </p:custDataLst>
          </p:nvPr>
        </p:nvPicPr>
        <p:blipFill>
          <a:blip r:embed="rId16" cstate="email"/>
          <a:stretch>
            <a:fillRect/>
          </a:stretch>
        </p:blipFill>
        <p:spPr>
          <a:xfrm>
            <a:off x="764938" y="930776"/>
            <a:ext cx="3494509" cy="776000"/>
          </a:xfrm>
          <a:prstGeom prst="rect">
            <a:avLst/>
          </a:prstGeom>
        </p:spPr>
      </p:pic>
      <p:pic>
        <p:nvPicPr>
          <p:cNvPr id="9" name="Picture 104" descr="C:\Users\UserSim\Desktop\Capgemini\moto.emf"/>
          <p:cNvPicPr>
            <a:picLocks noChangeAspect="1" noChangeArrowheads="1"/>
          </p:cNvPicPr>
          <p:nvPr>
            <p:custDataLst>
              <p:tags r:id="rId7"/>
            </p:custDataLst>
          </p:nvPr>
        </p:nvPicPr>
        <p:blipFill>
          <a:blip r:embed="rId17" cstate="email"/>
          <a:srcRect/>
          <a:stretch>
            <a:fillRect/>
          </a:stretch>
        </p:blipFill>
        <p:spPr bwMode="auto">
          <a:xfrm>
            <a:off x="6083038" y="1173628"/>
            <a:ext cx="4037863" cy="290298"/>
          </a:xfrm>
          <a:prstGeom prst="rect">
            <a:avLst/>
          </a:prstGeom>
          <a:noFill/>
        </p:spPr>
      </p:pic>
      <p:sp>
        <p:nvSpPr>
          <p:cNvPr id="13" name="Rectangle 12"/>
          <p:cNvSpPr/>
          <p:nvPr>
            <p:custDataLst>
              <p:tags r:id="rId8"/>
            </p:custDataLst>
          </p:nvPr>
        </p:nvSpPr>
        <p:spPr>
          <a:xfrm>
            <a:off x="6118801" y="6379669"/>
            <a:ext cx="4854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9"/>
            </p:custDataLst>
          </p:nvPr>
        </p:nvSpPr>
        <p:spPr>
          <a:xfrm>
            <a:off x="80496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8794249" y="5932547"/>
            <a:ext cx="308185"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9165783" y="5932547"/>
            <a:ext cx="311608"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9862583" y="5932547"/>
            <a:ext cx="311608"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10237540" y="5932547"/>
            <a:ext cx="311608"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9540740" y="5932548"/>
            <a:ext cx="258493"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75846" cy="158750"/>
        </p:xfrm>
        <a:graphic>
          <a:graphicData uri="http://schemas.openxmlformats.org/presentationml/2006/ole">
            <p:oleObj spid="_x0000_s12921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9275" y="274638"/>
            <a:ext cx="987425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549275" y="1600200"/>
            <a:ext cx="987425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549275" y="6356350"/>
            <a:ext cx="25590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9845D0-71EC-4FAB-9362-88C8DE3E0EEE}" type="datetimeFigureOut">
              <a:rPr lang="en-US" smtClean="0"/>
              <a:pPr/>
              <a:t>12/27/2016</a:t>
            </a:fld>
            <a:endParaRPr lang="en-US" dirty="0"/>
          </a:p>
        </p:txBody>
      </p:sp>
      <p:sp>
        <p:nvSpPr>
          <p:cNvPr id="5" name="Footer Placeholder 4"/>
          <p:cNvSpPr>
            <a:spLocks noGrp="1"/>
          </p:cNvSpPr>
          <p:nvPr>
            <p:ph type="ftr" sz="quarter" idx="3"/>
          </p:nvPr>
        </p:nvSpPr>
        <p:spPr>
          <a:xfrm>
            <a:off x="3749675" y="6356350"/>
            <a:ext cx="347345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7864475" y="6356350"/>
            <a:ext cx="25590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1549416607"/>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590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7"/>
            </p:custDataLst>
          </p:nvPr>
        </p:nvSpPr>
        <p:spPr>
          <a:xfrm>
            <a:off x="7716050" y="6439771"/>
            <a:ext cx="2596573"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9"/>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3.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3.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3.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3.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75846" cy="158750"/>
        </p:xfrm>
        <a:graphic>
          <a:graphicData uri="http://schemas.openxmlformats.org/presentationml/2006/ole">
            <p:oleObj spid="_x0000_s75972" name="think-cell Slide" r:id="rId6" imgW="360" imgH="360" progId="">
              <p:embed/>
            </p:oleObj>
          </a:graphicData>
        </a:graphic>
      </p:graphicFrame>
      <p:sp>
        <p:nvSpPr>
          <p:cNvPr id="10" name="Title 9"/>
          <p:cNvSpPr>
            <a:spLocks noGrp="1"/>
          </p:cNvSpPr>
          <p:nvPr>
            <p:ph type="ctrTitle"/>
            <p:custDataLst>
              <p:tags r:id="rId2"/>
            </p:custDataLst>
          </p:nvPr>
        </p:nvSpPr>
        <p:spPr>
          <a:xfrm>
            <a:off x="-1" y="2256615"/>
            <a:ext cx="8022606" cy="2227075"/>
          </a:xfrm>
        </p:spPr>
        <p:txBody>
          <a:bodyPr/>
          <a:lstStyle/>
          <a:p>
            <a:pPr fontAlgn="t"/>
            <a:r>
              <a:rPr lang="en-US" b="1" dirty="0" smtClean="0"/>
              <a:t>Cloud Native Application Design Patterns</a:t>
            </a:r>
            <a:endParaRPr lang="en-US" dirty="0"/>
          </a:p>
        </p:txBody>
      </p:sp>
      <p:sp>
        <p:nvSpPr>
          <p:cNvPr id="13" name="Subtitle 12"/>
          <p:cNvSpPr>
            <a:spLocks noGrp="1"/>
          </p:cNvSpPr>
          <p:nvPr>
            <p:ph type="subTitle" idx="1"/>
            <p:custDataLst>
              <p:tags r:id="rId3"/>
            </p:custDataLst>
          </p:nvPr>
        </p:nvSpPr>
        <p:spPr>
          <a:xfrm>
            <a:off x="1" y="4534519"/>
            <a:ext cx="5030286" cy="947750"/>
          </a:xfrm>
        </p:spPr>
        <p:txBody>
          <a:bodyPr/>
          <a:lstStyle/>
          <a:p>
            <a:r>
              <a:rPr lang="en-US" dirty="0" smtClean="0"/>
              <a:t>Dec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 on Design Patterns</a:t>
            </a:r>
            <a:endParaRPr lang="en-US" dirty="0"/>
          </a:p>
        </p:txBody>
      </p:sp>
      <p:graphicFrame>
        <p:nvGraphicFramePr>
          <p:cNvPr id="3" name="Diagram 2"/>
          <p:cNvGraphicFramePr/>
          <p:nvPr/>
        </p:nvGraphicFramePr>
        <p:xfrm>
          <a:off x="265814" y="1392865"/>
          <a:ext cx="10483701" cy="4731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140483"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on problem areas in cloud application development</a:t>
            </a:r>
            <a:endParaRPr lang="en-US" dirty="0"/>
          </a:p>
        </p:txBody>
      </p:sp>
      <p:graphicFrame>
        <p:nvGraphicFramePr>
          <p:cNvPr id="10" name="Diagram 9"/>
          <p:cNvGraphicFramePr/>
          <p:nvPr/>
        </p:nvGraphicFramePr>
        <p:xfrm>
          <a:off x="265814" y="1392865"/>
          <a:ext cx="10483701" cy="4731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on problem areas in cloud application development</a:t>
            </a:r>
            <a:endParaRPr lang="en-US" dirty="0"/>
          </a:p>
        </p:txBody>
      </p:sp>
      <p:graphicFrame>
        <p:nvGraphicFramePr>
          <p:cNvPr id="10" name="Diagram 9"/>
          <p:cNvGraphicFramePr/>
          <p:nvPr/>
        </p:nvGraphicFramePr>
        <p:xfrm>
          <a:off x="265814" y="1392865"/>
          <a:ext cx="10483701" cy="4731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Design Patterns</a:t>
            </a:r>
            <a:endParaRPr lang="en-US" dirty="0"/>
          </a:p>
        </p:txBody>
      </p:sp>
      <p:graphicFrame>
        <p:nvGraphicFramePr>
          <p:cNvPr id="5" name="Diagram 4"/>
          <p:cNvGraphicFramePr/>
          <p:nvPr/>
        </p:nvGraphicFramePr>
        <p:xfrm>
          <a:off x="552893" y="1350335"/>
          <a:ext cx="9930809" cy="48059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 on Design Patterns</a:t>
            </a:r>
            <a:endParaRPr lang="en-US" dirty="0"/>
          </a:p>
        </p:txBody>
      </p:sp>
      <p:graphicFrame>
        <p:nvGraphicFramePr>
          <p:cNvPr id="3" name="Diagram 2"/>
          <p:cNvGraphicFramePr/>
          <p:nvPr/>
        </p:nvGraphicFramePr>
        <p:xfrm>
          <a:off x="265814" y="1392865"/>
          <a:ext cx="10483701" cy="4731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 on Design Patterns</a:t>
            </a:r>
            <a:endParaRPr lang="en-US" dirty="0"/>
          </a:p>
        </p:txBody>
      </p:sp>
      <p:graphicFrame>
        <p:nvGraphicFramePr>
          <p:cNvPr id="3" name="Diagram 2"/>
          <p:cNvGraphicFramePr/>
          <p:nvPr/>
        </p:nvGraphicFramePr>
        <p:xfrm>
          <a:off x="265814" y="1392865"/>
          <a:ext cx="10483701" cy="4731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 on Design Patterns</a:t>
            </a:r>
            <a:endParaRPr lang="en-US" dirty="0"/>
          </a:p>
        </p:txBody>
      </p:sp>
      <p:graphicFrame>
        <p:nvGraphicFramePr>
          <p:cNvPr id="3" name="Diagram 2"/>
          <p:cNvGraphicFramePr/>
          <p:nvPr/>
        </p:nvGraphicFramePr>
        <p:xfrm>
          <a:off x="265814" y="1392865"/>
          <a:ext cx="10483701" cy="4731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 on Design Patterns</a:t>
            </a:r>
            <a:endParaRPr lang="en-US" dirty="0"/>
          </a:p>
        </p:txBody>
      </p:sp>
      <p:graphicFrame>
        <p:nvGraphicFramePr>
          <p:cNvPr id="3" name="Diagram 2"/>
          <p:cNvGraphicFramePr/>
          <p:nvPr/>
        </p:nvGraphicFramePr>
        <p:xfrm>
          <a:off x="265814" y="1392865"/>
          <a:ext cx="10483701" cy="4731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 on Design Patterns</a:t>
            </a:r>
            <a:endParaRPr lang="en-US" dirty="0"/>
          </a:p>
        </p:txBody>
      </p:sp>
      <p:graphicFrame>
        <p:nvGraphicFramePr>
          <p:cNvPr id="3" name="Diagram 2"/>
          <p:cNvGraphicFramePr/>
          <p:nvPr/>
        </p:nvGraphicFramePr>
        <p:xfrm>
          <a:off x="265814" y="1392865"/>
          <a:ext cx="10483701" cy="4731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Bl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38664</TotalTime>
  <Words>1888</Words>
  <Application>Microsoft Office PowerPoint</Application>
  <PresentationFormat>Custom</PresentationFormat>
  <Paragraphs>104</Paragraphs>
  <Slides>11</Slides>
  <Notes>2</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1</vt:i4>
      </vt:variant>
    </vt:vector>
  </HeadingPairs>
  <TitlesOfParts>
    <vt:vector size="17" baseType="lpstr">
      <vt:lpstr>Blank</vt:lpstr>
      <vt:lpstr>Closing slides</vt:lpstr>
      <vt:lpstr>Section break</vt:lpstr>
      <vt:lpstr>Custom Design</vt:lpstr>
      <vt:lpstr>PPT Template</vt:lpstr>
      <vt:lpstr>think-cell Slide</vt:lpstr>
      <vt:lpstr>Cloud Native Application Design Patterns</vt:lpstr>
      <vt:lpstr>Common problem areas in cloud application development</vt:lpstr>
      <vt:lpstr>Common problem areas in cloud application development</vt:lpstr>
      <vt:lpstr>Cloud Design Patterns</vt:lpstr>
      <vt:lpstr>Overview on Design Patterns</vt:lpstr>
      <vt:lpstr>Overview on Design Patterns</vt:lpstr>
      <vt:lpstr>Overview on Design Patterns</vt:lpstr>
      <vt:lpstr>Overview on Design Patterns</vt:lpstr>
      <vt:lpstr>Overview on Design Patterns</vt:lpstr>
      <vt:lpstr>Overview on Design Patterns</vt:lpstr>
      <vt:lpstr>Slide 11</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vakkired</dc:creator>
  <cp:lastModifiedBy>ukannan</cp:lastModifiedBy>
  <cp:revision>510</cp:revision>
  <dcterms:created xsi:type="dcterms:W3CDTF">2013-04-01T04:45:56Z</dcterms:created>
  <dcterms:modified xsi:type="dcterms:W3CDTF">2016-12-27T06:16:41Z</dcterms:modified>
</cp:coreProperties>
</file>